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4.xml" ContentType="application/vnd.openxmlformats-officedocument.presentationml.tags+xml"/>
  <Override PartName="/ppt/notesSlides/notesSlide1.xml" ContentType="application/vnd.openxmlformats-officedocument.presentationml.notesSlide+xml"/>
  <Override PartName="/ppt/tags/tag15.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72" r:id="rId4"/>
  </p:sldMasterIdLst>
  <p:notesMasterIdLst>
    <p:notesMasterId r:id="rId8"/>
  </p:notesMasterIdLst>
  <p:handoutMasterIdLst>
    <p:handoutMasterId r:id="rId9"/>
  </p:handoutMasterIdLst>
  <p:sldIdLst>
    <p:sldId id="256" r:id="rId5"/>
    <p:sldId id="275" r:id="rId6"/>
    <p:sldId id="276" r:id="rId7"/>
  </p:sldIdLst>
  <p:sldSz cx="12192000" cy="6858000"/>
  <p:notesSz cx="9144000" cy="6858000"/>
  <p:custDataLst>
    <p:tags r:id="rId1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80" userDrawn="1">
          <p15:clr>
            <a:srgbClr val="A4A3A4"/>
          </p15:clr>
        </p15:guide>
        <p15:guide id="3" orient="horz" pos="2352" userDrawn="1">
          <p15:clr>
            <a:srgbClr val="A4A3A4"/>
          </p15:clr>
        </p15:guide>
        <p15:guide id="4" orient="horz" pos="3795" userDrawn="1">
          <p15:clr>
            <a:srgbClr val="A4A3A4"/>
          </p15:clr>
        </p15:guide>
        <p15:guide id="6" orient="horz" pos="4175" userDrawn="1">
          <p15:clr>
            <a:srgbClr val="A4A3A4"/>
          </p15:clr>
        </p15:guide>
        <p15:guide id="7" pos="293" userDrawn="1">
          <p15:clr>
            <a:srgbClr val="A4A3A4"/>
          </p15:clr>
        </p15:guide>
        <p15:guide id="8" pos="7399" userDrawn="1">
          <p15:clr>
            <a:srgbClr val="A4A3A4"/>
          </p15:clr>
        </p15:guide>
        <p15:guide id="9" pos="1463" userDrawn="1">
          <p15:clr>
            <a:srgbClr val="A4A3A4"/>
          </p15:clr>
        </p15:guide>
        <p15:guide id="10" pos="6193" userDrawn="1">
          <p15:clr>
            <a:srgbClr val="A4A3A4"/>
          </p15:clr>
        </p15:guide>
        <p15:guide id="11" pos="3841" userDrawn="1">
          <p15:clr>
            <a:srgbClr val="A4A3A4"/>
          </p15:clr>
        </p15:guide>
        <p15:guide id="12" pos="2640" userDrawn="1">
          <p15:clr>
            <a:srgbClr val="A4A3A4"/>
          </p15:clr>
        </p15:guide>
        <p15:guide id="13" pos="5016" userDrawn="1">
          <p15:clr>
            <a:srgbClr val="A4A3A4"/>
          </p15:clr>
        </p15:guide>
        <p15:guide id="14" orient="horz" pos="279" userDrawn="1">
          <p15:clr>
            <a:srgbClr val="A4A3A4"/>
          </p15:clr>
        </p15:guide>
        <p15:guide id="15" orient="horz" pos="768" userDrawn="1">
          <p15:clr>
            <a:srgbClr val="A4A3A4"/>
          </p15:clr>
        </p15:guide>
        <p15:guide id="16" orient="horz" pos="4152" userDrawn="1">
          <p15:clr>
            <a:srgbClr val="A4A3A4"/>
          </p15:clr>
        </p15:guide>
        <p15:guide id="17" orient="horz" pos="912" userDrawn="1">
          <p15:clr>
            <a:srgbClr val="A4A3A4"/>
          </p15:clr>
        </p15:guide>
        <p15:guide id="18" orient="horz" pos="3931" userDrawn="1">
          <p15:clr>
            <a:srgbClr val="A4A3A4"/>
          </p15:clr>
        </p15:guide>
        <p15:guide id="19" pos="3792" userDrawn="1">
          <p15:clr>
            <a:srgbClr val="A4A3A4"/>
          </p15:clr>
        </p15:guide>
        <p15:guide id="20" pos="3888" userDrawn="1">
          <p15:clr>
            <a:srgbClr val="A4A3A4"/>
          </p15:clr>
        </p15:guide>
        <p15:guide id="21" orient="horz" pos="2304" userDrawn="1">
          <p15:clr>
            <a:srgbClr val="A4A3A4"/>
          </p15:clr>
        </p15:guide>
        <p15:guide id="22" orient="horz" pos="2400" userDrawn="1">
          <p15:clr>
            <a:srgbClr val="A4A3A4"/>
          </p15:clr>
        </p15:guide>
        <p15:guide id="23" orient="horz" pos="286" userDrawn="1">
          <p15:clr>
            <a:srgbClr val="A4A3A4"/>
          </p15:clr>
        </p15:guide>
        <p15:guide id="24" orient="horz" pos="285" userDrawn="1">
          <p15:clr>
            <a:srgbClr val="A4A3A4"/>
          </p15:clr>
        </p15:guide>
        <p15:guide id="25" orient="horz" pos="401" userDrawn="1">
          <p15:clr>
            <a:srgbClr val="A4A3A4"/>
          </p15:clr>
        </p15:guide>
        <p15:guide id="26" orient="horz" pos="1039" userDrawn="1">
          <p15:clr>
            <a:srgbClr val="A4A3A4"/>
          </p15:clr>
        </p15:guide>
        <p15:guide id="27" pos="3435" userDrawn="1">
          <p15:clr>
            <a:srgbClr val="A4A3A4"/>
          </p15:clr>
        </p15:guide>
      </p15:sldGuideLst>
    </p:ext>
    <p:ext uri="{2D200454-40CA-4A62-9FC3-DE9A4176ACB9}">
      <p15:notesGuideLst xmlns:p15="http://schemas.microsoft.com/office/powerpoint/2012/main">
        <p15:guide id="1" orient="horz" pos="2160">
          <p15:clr>
            <a:srgbClr val="A4A3A4"/>
          </p15:clr>
        </p15:guide>
        <p15:guide id="2" pos="288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4848"/>
    <a:srgbClr val="7F7F7F"/>
    <a:srgbClr val="F2F2F2"/>
    <a:srgbClr val="D9D9D9"/>
    <a:srgbClr val="F7F7F7"/>
    <a:srgbClr val="00859B"/>
    <a:srgbClr val="EFE411"/>
    <a:srgbClr val="D20962"/>
    <a:srgbClr val="B2DAE1"/>
    <a:srgbClr val="E5B2CF"/>
  </p:clrMru>
  <p:extLst>
    <p:ext uri="{E76CE94A-603C-4142-B9EB-6D1370010A27}">
      <p14:discardImageEditData xmlns:p14="http://schemas.microsoft.com/office/powerpoint/2010/main" val="1"/>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5730" autoAdjust="0"/>
    <p:restoredTop sz="85627" autoAdjust="0"/>
  </p:normalViewPr>
  <p:slideViewPr>
    <p:cSldViewPr snapToGrid="0">
      <p:cViewPr varScale="1">
        <p:scale>
          <a:sx n="90" d="100"/>
          <a:sy n="90" d="100"/>
        </p:scale>
        <p:origin x="1842" y="96"/>
      </p:cViewPr>
      <p:guideLst>
        <p:guide orient="horz" pos="280"/>
        <p:guide orient="horz" pos="2352"/>
        <p:guide orient="horz" pos="3795"/>
        <p:guide orient="horz" pos="4175"/>
        <p:guide pos="293"/>
        <p:guide pos="7399"/>
        <p:guide pos="1463"/>
        <p:guide pos="6193"/>
        <p:guide pos="3841"/>
        <p:guide pos="2640"/>
        <p:guide pos="5016"/>
        <p:guide orient="horz" pos="279"/>
        <p:guide orient="horz" pos="768"/>
        <p:guide orient="horz" pos="4152"/>
        <p:guide orient="horz" pos="912"/>
        <p:guide orient="horz" pos="3931"/>
        <p:guide pos="3792"/>
        <p:guide pos="3888"/>
        <p:guide orient="horz" pos="2304"/>
        <p:guide orient="horz" pos="2400"/>
        <p:guide orient="horz" pos="286"/>
        <p:guide orient="horz" pos="285"/>
        <p:guide orient="horz" pos="401"/>
        <p:guide orient="horz" pos="1039"/>
        <p:guide pos="3435"/>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snapToObjects="1">
      <p:cViewPr varScale="1">
        <p:scale>
          <a:sx n="88" d="100"/>
          <a:sy n="88" d="100"/>
        </p:scale>
        <p:origin x="2040" y="77"/>
      </p:cViewPr>
      <p:guideLst>
        <p:guide orient="horz" pos="2160"/>
        <p:guide pos="288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viewProps" Target="view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presProps" Target="presProps.xml"/><Relationship Id="rId5" Type="http://schemas.openxmlformats.org/officeDocument/2006/relationships/slide" Target="slides/slide1.xml"/><Relationship Id="rId10"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handoutMaster" Target="handoutMasters/handoutMaster1.xml"/><Relationship Id="rId14"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200"/>
            </a:lvl1pPr>
          </a:lstStyle>
          <a:p>
            <a:endParaRPr lang="en-US" sz="1000" dirty="0">
              <a:latin typeface="Open Sans Light"/>
              <a:cs typeface="Open Sans Light"/>
            </a:endParaRPr>
          </a:p>
        </p:txBody>
      </p:sp>
      <p:sp>
        <p:nvSpPr>
          <p:cNvPr id="3" name="Date Placeholder 2"/>
          <p:cNvSpPr>
            <a:spLocks noGrp="1"/>
          </p:cNvSpPr>
          <p:nvPr>
            <p:ph type="dt" sz="quarter" idx="1"/>
          </p:nvPr>
        </p:nvSpPr>
        <p:spPr>
          <a:xfrm>
            <a:off x="5180013" y="0"/>
            <a:ext cx="3962400" cy="342900"/>
          </a:xfrm>
          <a:prstGeom prst="rect">
            <a:avLst/>
          </a:prstGeom>
        </p:spPr>
        <p:txBody>
          <a:bodyPr vert="horz" lIns="91440" tIns="45720" rIns="91440" bIns="45720" rtlCol="0"/>
          <a:lstStyle>
            <a:lvl1pPr algn="r">
              <a:defRPr sz="1200"/>
            </a:lvl1pPr>
          </a:lstStyle>
          <a:p>
            <a:fld id="{82541AEF-3112-6549-914A-E0D9B60F40EA}" type="datetimeFigureOut">
              <a:rPr lang="en-US" sz="1000" smtClean="0">
                <a:latin typeface="Open Sans Light"/>
                <a:cs typeface="Open Sans Light"/>
              </a:rPr>
              <a:t>4/8/2019</a:t>
            </a:fld>
            <a:endParaRPr lang="en-US" sz="1000" dirty="0">
              <a:latin typeface="Open Sans Light"/>
              <a:cs typeface="Open Sans Light"/>
            </a:endParaRPr>
          </a:p>
        </p:txBody>
      </p:sp>
      <p:sp>
        <p:nvSpPr>
          <p:cNvPr id="4" name="Footer Placeholder 3"/>
          <p:cNvSpPr>
            <a:spLocks noGrp="1"/>
          </p:cNvSpPr>
          <p:nvPr>
            <p:ph type="ftr" sz="quarter" idx="2"/>
          </p:nvPr>
        </p:nvSpPr>
        <p:spPr>
          <a:xfrm>
            <a:off x="0" y="6513513"/>
            <a:ext cx="3962400" cy="342900"/>
          </a:xfrm>
          <a:prstGeom prst="rect">
            <a:avLst/>
          </a:prstGeom>
        </p:spPr>
        <p:txBody>
          <a:bodyPr vert="horz" lIns="91440" tIns="45720" rIns="91440" bIns="45720" rtlCol="0" anchor="b"/>
          <a:lstStyle>
            <a:lvl1pPr algn="l">
              <a:defRPr sz="1200"/>
            </a:lvl1pPr>
          </a:lstStyle>
          <a:p>
            <a:endParaRPr lang="en-US" sz="1000" dirty="0">
              <a:latin typeface="Open Sans Light"/>
              <a:cs typeface="Open Sans Light"/>
            </a:endParaRPr>
          </a:p>
        </p:txBody>
      </p:sp>
      <p:sp>
        <p:nvSpPr>
          <p:cNvPr id="5" name="Slide Number Placeholder 4"/>
          <p:cNvSpPr>
            <a:spLocks noGrp="1"/>
          </p:cNvSpPr>
          <p:nvPr>
            <p:ph type="sldNum" sz="quarter" idx="3"/>
          </p:nvPr>
        </p:nvSpPr>
        <p:spPr>
          <a:xfrm>
            <a:off x="5180013" y="6513513"/>
            <a:ext cx="3962400" cy="342900"/>
          </a:xfrm>
          <a:prstGeom prst="rect">
            <a:avLst/>
          </a:prstGeom>
        </p:spPr>
        <p:txBody>
          <a:bodyPr vert="horz" lIns="91440" tIns="45720" rIns="91440" bIns="45720" rtlCol="0" anchor="b"/>
          <a:lstStyle>
            <a:lvl1pPr algn="r">
              <a:defRPr sz="1200"/>
            </a:lvl1pPr>
          </a:lstStyle>
          <a:p>
            <a:fld id="{BF293638-C25A-9844-8D5B-B0309EC5F961}" type="slidenum">
              <a:rPr lang="en-US" sz="1000" smtClean="0">
                <a:latin typeface="Open Sans Light"/>
                <a:cs typeface="Open Sans Light"/>
              </a:rPr>
              <a:t>‹#›</a:t>
            </a:fld>
            <a:endParaRPr lang="en-US" sz="1000" dirty="0">
              <a:latin typeface="Open Sans Light"/>
              <a:cs typeface="Open Sans Light"/>
            </a:endParaRPr>
          </a:p>
        </p:txBody>
      </p:sp>
    </p:spTree>
    <p:extLst>
      <p:ext uri="{BB962C8B-B14F-4D97-AF65-F5344CB8AC3E}">
        <p14:creationId xmlns:p14="http://schemas.microsoft.com/office/powerpoint/2010/main" val="347683461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000">
                <a:latin typeface="Arial" panose="020B0604020202020204" pitchFamily="34" charset="0"/>
                <a:cs typeface="Arial" panose="020B0604020202020204" pitchFamily="34" charset="0"/>
                <a:sym typeface="Arial" panose="020B0604020202020204" pitchFamily="34" charset="0"/>
              </a:defRPr>
            </a:lvl1pPr>
          </a:lstStyle>
          <a:p>
            <a:endParaRPr lang="en-US" dirty="0"/>
          </a:p>
        </p:txBody>
      </p:sp>
      <p:sp>
        <p:nvSpPr>
          <p:cNvPr id="3" name="Date Placeholder 2"/>
          <p:cNvSpPr>
            <a:spLocks noGrp="1"/>
          </p:cNvSpPr>
          <p:nvPr>
            <p:ph type="dt" idx="1"/>
          </p:nvPr>
        </p:nvSpPr>
        <p:spPr>
          <a:xfrm>
            <a:off x="5180013" y="0"/>
            <a:ext cx="3962400" cy="342900"/>
          </a:xfrm>
          <a:prstGeom prst="rect">
            <a:avLst/>
          </a:prstGeom>
        </p:spPr>
        <p:txBody>
          <a:bodyPr vert="horz" lIns="91440" tIns="45720" rIns="91440" bIns="45720" rtlCol="0"/>
          <a:lstStyle>
            <a:lvl1pPr algn="r">
              <a:defRPr sz="1000">
                <a:latin typeface="Arial" panose="020B0604020202020204" pitchFamily="34" charset="0"/>
                <a:cs typeface="Arial" panose="020B0604020202020204" pitchFamily="34" charset="0"/>
                <a:sym typeface="Arial" panose="020B0604020202020204" pitchFamily="34" charset="0"/>
              </a:defRPr>
            </a:lvl1pPr>
          </a:lstStyle>
          <a:p>
            <a:fld id="{EC2C7003-A6A9-A249-88AD-8CFDA7DED64B}" type="datetimeFigureOut">
              <a:rPr lang="en-US" smtClean="0"/>
              <a:pPr/>
              <a:t>4/8/2019</a:t>
            </a:fld>
            <a:endParaRPr lang="en-US" dirty="0"/>
          </a:p>
        </p:txBody>
      </p:sp>
      <p:sp>
        <p:nvSpPr>
          <p:cNvPr id="4" name="Slide Image Placeholder 3"/>
          <p:cNvSpPr>
            <a:spLocks noGrp="1" noRot="1" noChangeAspect="1"/>
          </p:cNvSpPr>
          <p:nvPr>
            <p:ph type="sldImg" idx="2"/>
          </p:nvPr>
        </p:nvSpPr>
        <p:spPr>
          <a:xfrm>
            <a:off x="2286000" y="514350"/>
            <a:ext cx="4572000" cy="25717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914400" y="3257550"/>
            <a:ext cx="7315200" cy="308610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6513513"/>
            <a:ext cx="3962400" cy="342900"/>
          </a:xfrm>
          <a:prstGeom prst="rect">
            <a:avLst/>
          </a:prstGeom>
        </p:spPr>
        <p:txBody>
          <a:bodyPr vert="horz" lIns="91440" tIns="45720" rIns="91440" bIns="45720" rtlCol="0" anchor="b"/>
          <a:lstStyle>
            <a:lvl1pPr algn="l">
              <a:defRPr sz="1000">
                <a:latin typeface="Arial" panose="020B0604020202020204" pitchFamily="34" charset="0"/>
                <a:cs typeface="Arial" panose="020B0604020202020204" pitchFamily="34" charset="0"/>
                <a:sym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5180013" y="6513513"/>
            <a:ext cx="3962400" cy="342900"/>
          </a:xfrm>
          <a:prstGeom prst="rect">
            <a:avLst/>
          </a:prstGeom>
        </p:spPr>
        <p:txBody>
          <a:bodyPr vert="horz" lIns="91440" tIns="45720" rIns="91440" bIns="45720" rtlCol="0" anchor="b"/>
          <a:lstStyle>
            <a:lvl1pPr algn="r">
              <a:defRPr sz="1000">
                <a:latin typeface="Arial" panose="020B0604020202020204" pitchFamily="34" charset="0"/>
                <a:cs typeface="Arial" panose="020B0604020202020204" pitchFamily="34" charset="0"/>
                <a:sym typeface="Arial" panose="020B0604020202020204" pitchFamily="34" charset="0"/>
              </a:defRPr>
            </a:lvl1pPr>
          </a:lstStyle>
          <a:p>
            <a:fld id="{50AD15A5-6128-B84F-818D-8AA5BDD9AF9D}" type="slidenum">
              <a:rPr lang="en-US" smtClean="0"/>
              <a:pPr/>
              <a:t>‹#›</a:t>
            </a:fld>
            <a:endParaRPr lang="en-US" dirty="0"/>
          </a:p>
        </p:txBody>
      </p:sp>
    </p:spTree>
    <p:extLst>
      <p:ext uri="{BB962C8B-B14F-4D97-AF65-F5344CB8AC3E}">
        <p14:creationId xmlns:p14="http://schemas.microsoft.com/office/powerpoint/2010/main" val="3526269920"/>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457200" algn="l" defTabSz="457200" rtl="0" eaLnBrk="1" latinLnBrk="0" hangingPunct="1">
      <a:defRPr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914400" algn="l" defTabSz="457200" rtl="0" eaLnBrk="1" latinLnBrk="0" hangingPunct="1">
      <a:defRPr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1371600" algn="l" defTabSz="457200" rtl="0" eaLnBrk="1" latinLnBrk="0" hangingPunct="1">
      <a:defRPr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1828800" algn="l" defTabSz="457200" rtl="0" eaLnBrk="1" latinLnBrk="0" hangingPunct="1">
      <a:defRPr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0AD15A5-6128-B84F-818D-8AA5BDD9AF9D}" type="slidenum">
              <a:rPr lang="en-US" smtClean="0"/>
              <a:pPr/>
              <a:t>1</a:t>
            </a:fld>
            <a:endParaRPr lang="en-US" dirty="0"/>
          </a:p>
        </p:txBody>
      </p:sp>
    </p:spTree>
    <p:extLst>
      <p:ext uri="{BB962C8B-B14F-4D97-AF65-F5344CB8AC3E}">
        <p14:creationId xmlns:p14="http://schemas.microsoft.com/office/powerpoint/2010/main" val="12871239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uture state diagram (</a:t>
            </a:r>
            <a:r>
              <a:rPr lang="en-US" dirty="0" err="1"/>
              <a:t>yale</a:t>
            </a:r>
            <a:r>
              <a:rPr lang="en-US" dirty="0"/>
              <a:t>) =&gt; http://aetnet.aetna.com/technet/near/pages/821d83f94921012f.htm</a:t>
            </a:r>
          </a:p>
          <a:p>
            <a:endParaRPr lang="en-US" dirty="0"/>
          </a:p>
        </p:txBody>
      </p:sp>
      <p:sp>
        <p:nvSpPr>
          <p:cNvPr id="4" name="Slide Number Placeholder 3"/>
          <p:cNvSpPr>
            <a:spLocks noGrp="1"/>
          </p:cNvSpPr>
          <p:nvPr>
            <p:ph type="sldNum" sz="quarter" idx="10"/>
          </p:nvPr>
        </p:nvSpPr>
        <p:spPr/>
        <p:txBody>
          <a:bodyPr/>
          <a:lstStyle/>
          <a:p>
            <a:fld id="{50AD15A5-6128-B84F-818D-8AA5BDD9AF9D}" type="slidenum">
              <a:rPr lang="en-US" smtClean="0"/>
              <a:pPr/>
              <a:t>2</a:t>
            </a:fld>
            <a:endParaRPr lang="en-US" dirty="0"/>
          </a:p>
        </p:txBody>
      </p:sp>
    </p:spTree>
    <p:extLst>
      <p:ext uri="{BB962C8B-B14F-4D97-AF65-F5344CB8AC3E}">
        <p14:creationId xmlns:p14="http://schemas.microsoft.com/office/powerpoint/2010/main" val="290967728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2.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3.jpeg"/><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2.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2.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64E69"/>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5783272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4" imgW="498" imgH="499" progId="TCLayout.ActiveDocument.1">
                  <p:embed/>
                </p:oleObj>
              </mc:Choice>
              <mc:Fallback>
                <p:oleObj name="think-cell Slide" r:id="rId4" imgW="498" imgH="49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p:cNvSpPr>
            <a:spLocks noChangeAspect="1"/>
          </p:cNvSpPr>
          <p:nvPr/>
        </p:nvSpPr>
        <p:spPr>
          <a:xfrm>
            <a:off x="7751366" y="0"/>
            <a:ext cx="4440634"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1" dirty="0">
              <a:solidFill>
                <a:schemeClr val="accent4"/>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p:cNvSpPr/>
          <p:nvPr/>
        </p:nvSpPr>
        <p:spPr>
          <a:xfrm>
            <a:off x="7629890" y="0"/>
            <a:ext cx="121476" cy="6858000"/>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1" dirty="0">
              <a:latin typeface="Arial" panose="020B0604020202020204" pitchFamily="34" charset="0"/>
              <a:cs typeface="Arial" panose="020B0604020202020204" pitchFamily="34" charset="0"/>
              <a:sym typeface="Arial" panose="020B0604020202020204" pitchFamily="34" charset="0"/>
            </a:endParaRPr>
          </a:p>
        </p:txBody>
      </p:sp>
      <p:grpSp>
        <p:nvGrpSpPr>
          <p:cNvPr id="10" name="Group 9"/>
          <p:cNvGrpSpPr/>
          <p:nvPr userDrawn="1"/>
        </p:nvGrpSpPr>
        <p:grpSpPr>
          <a:xfrm>
            <a:off x="834187" y="5051932"/>
            <a:ext cx="2121961" cy="1172755"/>
            <a:chOff x="834187" y="5007328"/>
            <a:chExt cx="2121961" cy="1172755"/>
          </a:xfrm>
        </p:grpSpPr>
        <p:sp>
          <p:nvSpPr>
            <p:cNvPr id="12" name="TextBox 11"/>
            <p:cNvSpPr txBox="1">
              <a:spLocks/>
            </p:cNvSpPr>
            <p:nvPr/>
          </p:nvSpPr>
          <p:spPr>
            <a:xfrm>
              <a:off x="1476280" y="5399774"/>
              <a:ext cx="335594" cy="263468"/>
            </a:xfrm>
            <a:custGeom>
              <a:avLst/>
              <a:gdLst/>
              <a:ahLst/>
              <a:cxnLst/>
              <a:rect l="l" t="t" r="r" b="b"/>
              <a:pathLst>
                <a:path w="486642" h="382152">
                  <a:moveTo>
                    <a:pt x="150943" y="0"/>
                  </a:moveTo>
                  <a:cubicBezTo>
                    <a:pt x="191582" y="0"/>
                    <a:pt x="224490" y="12368"/>
                    <a:pt x="232082" y="39810"/>
                  </a:cubicBezTo>
                  <a:lnTo>
                    <a:pt x="232262" y="41192"/>
                  </a:lnTo>
                  <a:lnTo>
                    <a:pt x="244394" y="27828"/>
                  </a:lnTo>
                  <a:cubicBezTo>
                    <a:pt x="265912" y="9086"/>
                    <a:pt x="296328" y="0"/>
                    <a:pt x="331918" y="0"/>
                  </a:cubicBezTo>
                  <a:cubicBezTo>
                    <a:pt x="355140" y="0"/>
                    <a:pt x="375838" y="4038"/>
                    <a:pt x="390730" y="12620"/>
                  </a:cubicBezTo>
                  <a:lnTo>
                    <a:pt x="399550" y="19037"/>
                  </a:lnTo>
                  <a:lnTo>
                    <a:pt x="415123" y="9213"/>
                  </a:lnTo>
                  <a:cubicBezTo>
                    <a:pt x="421204" y="6846"/>
                    <a:pt x="427956" y="5553"/>
                    <a:pt x="435150" y="5553"/>
                  </a:cubicBezTo>
                  <a:cubicBezTo>
                    <a:pt x="464430" y="5553"/>
                    <a:pt x="486642" y="26250"/>
                    <a:pt x="486642" y="53511"/>
                  </a:cubicBezTo>
                  <a:cubicBezTo>
                    <a:pt x="486642" y="80772"/>
                    <a:pt x="464430" y="101974"/>
                    <a:pt x="435150" y="101974"/>
                  </a:cubicBezTo>
                  <a:cubicBezTo>
                    <a:pt x="420763" y="101974"/>
                    <a:pt x="408142" y="96674"/>
                    <a:pt x="399118" y="87965"/>
                  </a:cubicBezTo>
                  <a:lnTo>
                    <a:pt x="397141" y="85099"/>
                  </a:lnTo>
                  <a:lnTo>
                    <a:pt x="387023" y="90979"/>
                  </a:lnTo>
                  <a:cubicBezTo>
                    <a:pt x="381675" y="92887"/>
                    <a:pt x="375838" y="93897"/>
                    <a:pt x="369780" y="93897"/>
                  </a:cubicBezTo>
                  <a:cubicBezTo>
                    <a:pt x="355140" y="93897"/>
                    <a:pt x="342015" y="89354"/>
                    <a:pt x="335452" y="81781"/>
                  </a:cubicBezTo>
                  <a:cubicBezTo>
                    <a:pt x="350092" y="78247"/>
                    <a:pt x="359179" y="66132"/>
                    <a:pt x="359179" y="42910"/>
                  </a:cubicBezTo>
                  <a:cubicBezTo>
                    <a:pt x="359179" y="22717"/>
                    <a:pt x="350597" y="8077"/>
                    <a:pt x="331918" y="8077"/>
                  </a:cubicBezTo>
                  <a:cubicBezTo>
                    <a:pt x="308696" y="8077"/>
                    <a:pt x="300619" y="29784"/>
                    <a:pt x="300619" y="58054"/>
                  </a:cubicBezTo>
                  <a:lnTo>
                    <a:pt x="300619" y="132264"/>
                  </a:lnTo>
                  <a:lnTo>
                    <a:pt x="363217" y="132264"/>
                  </a:lnTo>
                  <a:lnTo>
                    <a:pt x="360693" y="144884"/>
                  </a:lnTo>
                  <a:lnTo>
                    <a:pt x="300619" y="144884"/>
                  </a:lnTo>
                  <a:lnTo>
                    <a:pt x="300619" y="327126"/>
                  </a:lnTo>
                  <a:cubicBezTo>
                    <a:pt x="300619" y="360445"/>
                    <a:pt x="312230" y="369027"/>
                    <a:pt x="339490" y="381142"/>
                  </a:cubicBezTo>
                  <a:lnTo>
                    <a:pt x="339490" y="382152"/>
                  </a:lnTo>
                  <a:lnTo>
                    <a:pt x="186529" y="382152"/>
                  </a:lnTo>
                  <a:lnTo>
                    <a:pt x="186529" y="381142"/>
                  </a:lnTo>
                  <a:cubicBezTo>
                    <a:pt x="208741" y="367007"/>
                    <a:pt x="210255" y="360445"/>
                    <a:pt x="210255" y="327126"/>
                  </a:cubicBezTo>
                  <a:lnTo>
                    <a:pt x="210255" y="144884"/>
                  </a:lnTo>
                  <a:lnTo>
                    <a:pt x="180976" y="144884"/>
                  </a:lnTo>
                  <a:lnTo>
                    <a:pt x="180976" y="139331"/>
                  </a:lnTo>
                  <a:lnTo>
                    <a:pt x="210255" y="128225"/>
                  </a:lnTo>
                  <a:lnTo>
                    <a:pt x="210255" y="113585"/>
                  </a:lnTo>
                  <a:lnTo>
                    <a:pt x="212504" y="87227"/>
                  </a:lnTo>
                  <a:lnTo>
                    <a:pt x="206048" y="90979"/>
                  </a:lnTo>
                  <a:cubicBezTo>
                    <a:pt x="200700" y="92887"/>
                    <a:pt x="194863" y="93897"/>
                    <a:pt x="188805" y="93897"/>
                  </a:cubicBezTo>
                  <a:cubicBezTo>
                    <a:pt x="174165" y="93897"/>
                    <a:pt x="161040" y="89354"/>
                    <a:pt x="154477" y="81781"/>
                  </a:cubicBezTo>
                  <a:cubicBezTo>
                    <a:pt x="169117" y="78247"/>
                    <a:pt x="178204" y="66132"/>
                    <a:pt x="178204" y="42910"/>
                  </a:cubicBezTo>
                  <a:cubicBezTo>
                    <a:pt x="178204" y="22717"/>
                    <a:pt x="169622" y="8077"/>
                    <a:pt x="150943" y="8077"/>
                  </a:cubicBezTo>
                  <a:cubicBezTo>
                    <a:pt x="127721" y="8077"/>
                    <a:pt x="119644" y="29784"/>
                    <a:pt x="119644" y="58054"/>
                  </a:cubicBezTo>
                  <a:lnTo>
                    <a:pt x="119644" y="132264"/>
                  </a:lnTo>
                  <a:lnTo>
                    <a:pt x="182242" y="132264"/>
                  </a:lnTo>
                  <a:lnTo>
                    <a:pt x="179718" y="144884"/>
                  </a:lnTo>
                  <a:lnTo>
                    <a:pt x="119644" y="144884"/>
                  </a:lnTo>
                  <a:lnTo>
                    <a:pt x="119644" y="327126"/>
                  </a:lnTo>
                  <a:cubicBezTo>
                    <a:pt x="119644" y="360445"/>
                    <a:pt x="131255" y="369027"/>
                    <a:pt x="158516" y="381142"/>
                  </a:cubicBezTo>
                  <a:lnTo>
                    <a:pt x="158516" y="382152"/>
                  </a:lnTo>
                  <a:lnTo>
                    <a:pt x="5554" y="382152"/>
                  </a:lnTo>
                  <a:lnTo>
                    <a:pt x="5554" y="381142"/>
                  </a:lnTo>
                  <a:cubicBezTo>
                    <a:pt x="27766" y="367007"/>
                    <a:pt x="29280" y="360445"/>
                    <a:pt x="29280" y="327126"/>
                  </a:cubicBezTo>
                  <a:lnTo>
                    <a:pt x="29280" y="144884"/>
                  </a:lnTo>
                  <a:lnTo>
                    <a:pt x="0" y="144884"/>
                  </a:lnTo>
                  <a:lnTo>
                    <a:pt x="0" y="139331"/>
                  </a:lnTo>
                  <a:lnTo>
                    <a:pt x="29280" y="128225"/>
                  </a:lnTo>
                  <a:lnTo>
                    <a:pt x="29280" y="113585"/>
                  </a:lnTo>
                  <a:cubicBezTo>
                    <a:pt x="29280" y="36347"/>
                    <a:pt x="79763" y="0"/>
                    <a:pt x="15094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13" name="TextBox 12"/>
            <p:cNvSpPr txBox="1">
              <a:spLocks/>
            </p:cNvSpPr>
            <p:nvPr/>
          </p:nvSpPr>
          <p:spPr>
            <a:xfrm>
              <a:off x="1205971" y="5416132"/>
              <a:ext cx="250308" cy="25059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14" name="TextBox 13"/>
            <p:cNvSpPr txBox="1">
              <a:spLocks/>
            </p:cNvSpPr>
            <p:nvPr/>
          </p:nvSpPr>
          <p:spPr>
            <a:xfrm>
              <a:off x="1840684" y="5487481"/>
              <a:ext cx="169193" cy="179242"/>
            </a:xfrm>
            <a:custGeom>
              <a:avLst/>
              <a:gdLst/>
              <a:ahLst/>
              <a:cxnLst/>
              <a:rect l="l" t="t" r="r" b="b"/>
              <a:pathLst>
                <a:path w="245345" h="259984">
                  <a:moveTo>
                    <a:pt x="144885" y="0"/>
                  </a:moveTo>
                  <a:cubicBezTo>
                    <a:pt x="199406" y="0"/>
                    <a:pt x="240297" y="23726"/>
                    <a:pt x="240297" y="65122"/>
                  </a:cubicBezTo>
                  <a:cubicBezTo>
                    <a:pt x="240297" y="95411"/>
                    <a:pt x="217075" y="111061"/>
                    <a:pt x="192843" y="111061"/>
                  </a:cubicBezTo>
                  <a:cubicBezTo>
                    <a:pt x="166087" y="111061"/>
                    <a:pt x="150438" y="96421"/>
                    <a:pt x="148923" y="81781"/>
                  </a:cubicBezTo>
                  <a:cubicBezTo>
                    <a:pt x="151952" y="82791"/>
                    <a:pt x="155486" y="83296"/>
                    <a:pt x="158010" y="83296"/>
                  </a:cubicBezTo>
                  <a:cubicBezTo>
                    <a:pt x="176689" y="83296"/>
                    <a:pt x="184261" y="67646"/>
                    <a:pt x="184261" y="48463"/>
                  </a:cubicBezTo>
                  <a:cubicBezTo>
                    <a:pt x="184261" y="24231"/>
                    <a:pt x="171136" y="8582"/>
                    <a:pt x="145894" y="8582"/>
                  </a:cubicBezTo>
                  <a:cubicBezTo>
                    <a:pt x="110557" y="8582"/>
                    <a:pt x="93897" y="54016"/>
                    <a:pt x="93897" y="112575"/>
                  </a:cubicBezTo>
                  <a:cubicBezTo>
                    <a:pt x="93897" y="181737"/>
                    <a:pt x="124692" y="218589"/>
                    <a:pt x="171640" y="218589"/>
                  </a:cubicBezTo>
                  <a:cubicBezTo>
                    <a:pt x="200415" y="218589"/>
                    <a:pt x="226666" y="204958"/>
                    <a:pt x="242316" y="173659"/>
                  </a:cubicBezTo>
                  <a:lnTo>
                    <a:pt x="245345" y="175174"/>
                  </a:lnTo>
                  <a:cubicBezTo>
                    <a:pt x="231210" y="229190"/>
                    <a:pt x="185775" y="259984"/>
                    <a:pt x="129740" y="259984"/>
                  </a:cubicBezTo>
                  <a:cubicBezTo>
                    <a:pt x="60074" y="259984"/>
                    <a:pt x="0" y="213036"/>
                    <a:pt x="0" y="134788"/>
                  </a:cubicBezTo>
                  <a:cubicBezTo>
                    <a:pt x="0" y="49977"/>
                    <a:pt x="63608" y="0"/>
                    <a:pt x="144885"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15" name="TextBox 14"/>
            <p:cNvSpPr txBox="1">
              <a:spLocks/>
            </p:cNvSpPr>
            <p:nvPr/>
          </p:nvSpPr>
          <p:spPr>
            <a:xfrm>
              <a:off x="2024603" y="5487481"/>
              <a:ext cx="173719" cy="179242"/>
            </a:xfrm>
            <a:custGeom>
              <a:avLst/>
              <a:gdLst/>
              <a:ahLst/>
              <a:cxnLst/>
              <a:rect l="l" t="t" r="r" b="b"/>
              <a:pathLst>
                <a:path w="251908" h="259984">
                  <a:moveTo>
                    <a:pt x="132264" y="0"/>
                  </a:moveTo>
                  <a:cubicBezTo>
                    <a:pt x="213541" y="0"/>
                    <a:pt x="251908" y="51996"/>
                    <a:pt x="251908" y="118633"/>
                  </a:cubicBezTo>
                  <a:lnTo>
                    <a:pt x="91373" y="118633"/>
                  </a:lnTo>
                  <a:cubicBezTo>
                    <a:pt x="91373" y="181232"/>
                    <a:pt x="124187" y="218589"/>
                    <a:pt x="172650" y="218589"/>
                  </a:cubicBezTo>
                  <a:cubicBezTo>
                    <a:pt x="203444" y="218589"/>
                    <a:pt x="230200" y="204958"/>
                    <a:pt x="245850" y="173659"/>
                  </a:cubicBezTo>
                  <a:lnTo>
                    <a:pt x="249383" y="175174"/>
                  </a:lnTo>
                  <a:cubicBezTo>
                    <a:pt x="234744" y="229190"/>
                    <a:pt x="189309" y="259984"/>
                    <a:pt x="131759" y="259984"/>
                  </a:cubicBezTo>
                  <a:cubicBezTo>
                    <a:pt x="59569" y="259984"/>
                    <a:pt x="0" y="212531"/>
                    <a:pt x="0" y="130244"/>
                  </a:cubicBezTo>
                  <a:cubicBezTo>
                    <a:pt x="0" y="50987"/>
                    <a:pt x="60074" y="0"/>
                    <a:pt x="132264" y="0"/>
                  </a:cubicBezTo>
                  <a:close/>
                  <a:moveTo>
                    <a:pt x="132264" y="8582"/>
                  </a:moveTo>
                  <a:cubicBezTo>
                    <a:pt x="106013" y="8582"/>
                    <a:pt x="92888" y="48463"/>
                    <a:pt x="91878" y="108032"/>
                  </a:cubicBezTo>
                  <a:lnTo>
                    <a:pt x="165078" y="108032"/>
                  </a:lnTo>
                  <a:cubicBezTo>
                    <a:pt x="165078" y="51492"/>
                    <a:pt x="161039" y="8582"/>
                    <a:pt x="132264" y="8582"/>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16" name="TextBox 15"/>
            <p:cNvSpPr txBox="1">
              <a:spLocks/>
            </p:cNvSpPr>
            <p:nvPr/>
          </p:nvSpPr>
          <p:spPr>
            <a:xfrm>
              <a:off x="1727626" y="5490962"/>
              <a:ext cx="97129" cy="172281"/>
            </a:xfrm>
            <a:custGeom>
              <a:avLst/>
              <a:gdLst/>
              <a:ahLst/>
              <a:cxnLst/>
              <a:rect l="l" t="t" r="r" b="b"/>
              <a:pathLst>
                <a:path w="140846" h="249888">
                  <a:moveTo>
                    <a:pt x="0" y="0"/>
                  </a:moveTo>
                  <a:lnTo>
                    <a:pt x="117119" y="0"/>
                  </a:lnTo>
                  <a:lnTo>
                    <a:pt x="117119" y="194862"/>
                  </a:lnTo>
                  <a:cubicBezTo>
                    <a:pt x="117119" y="228181"/>
                    <a:pt x="118633" y="234743"/>
                    <a:pt x="140846" y="248878"/>
                  </a:cubicBezTo>
                  <a:lnTo>
                    <a:pt x="140846" y="249888"/>
                  </a:lnTo>
                  <a:lnTo>
                    <a:pt x="3029" y="249888"/>
                  </a:lnTo>
                  <a:lnTo>
                    <a:pt x="3029" y="248878"/>
                  </a:lnTo>
                  <a:cubicBezTo>
                    <a:pt x="25241" y="234743"/>
                    <a:pt x="26755" y="228181"/>
                    <a:pt x="26755" y="194862"/>
                  </a:cubicBezTo>
                  <a:lnTo>
                    <a:pt x="26755" y="56035"/>
                  </a:lnTo>
                  <a:cubicBezTo>
                    <a:pt x="26755" y="21707"/>
                    <a:pt x="23726" y="14640"/>
                    <a:pt x="0" y="1009"/>
                  </a:cubicBez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17" name="TextBox 16"/>
            <p:cNvSpPr txBox="1">
              <a:spLocks/>
            </p:cNvSpPr>
            <p:nvPr/>
          </p:nvSpPr>
          <p:spPr>
            <a:xfrm>
              <a:off x="1909962" y="5713507"/>
              <a:ext cx="223154" cy="250591"/>
            </a:xfrm>
            <a:custGeom>
              <a:avLst/>
              <a:gdLst/>
              <a:ahLst/>
              <a:cxnLst/>
              <a:rect l="l" t="t" r="r" b="b"/>
              <a:pathLst>
                <a:path w="323593" h="363474">
                  <a:moveTo>
                    <a:pt x="190319" y="0"/>
                  </a:moveTo>
                  <a:cubicBezTo>
                    <a:pt x="236258" y="0"/>
                    <a:pt x="260994" y="15145"/>
                    <a:pt x="277653" y="15145"/>
                  </a:cubicBezTo>
                  <a:cubicBezTo>
                    <a:pt x="291284" y="15145"/>
                    <a:pt x="299866" y="9087"/>
                    <a:pt x="310467" y="0"/>
                  </a:cubicBezTo>
                  <a:lnTo>
                    <a:pt x="314001" y="120149"/>
                  </a:lnTo>
                  <a:lnTo>
                    <a:pt x="312991" y="120149"/>
                  </a:lnTo>
                  <a:cubicBezTo>
                    <a:pt x="287750" y="56541"/>
                    <a:pt x="250393" y="11107"/>
                    <a:pt x="199910" y="11107"/>
                  </a:cubicBezTo>
                  <a:cubicBezTo>
                    <a:pt x="137312" y="11107"/>
                    <a:pt x="101974" y="80268"/>
                    <a:pt x="101974" y="164573"/>
                  </a:cubicBezTo>
                  <a:cubicBezTo>
                    <a:pt x="101974" y="260490"/>
                    <a:pt x="155486" y="315011"/>
                    <a:pt x="221113" y="315011"/>
                  </a:cubicBezTo>
                  <a:cubicBezTo>
                    <a:pt x="263014" y="315011"/>
                    <a:pt x="297846" y="300371"/>
                    <a:pt x="320564" y="252918"/>
                  </a:cubicBezTo>
                  <a:lnTo>
                    <a:pt x="323593" y="253927"/>
                  </a:lnTo>
                  <a:cubicBezTo>
                    <a:pt x="306428" y="321574"/>
                    <a:pt x="252412" y="363474"/>
                    <a:pt x="173660" y="363474"/>
                  </a:cubicBezTo>
                  <a:cubicBezTo>
                    <a:pt x="74209" y="363474"/>
                    <a:pt x="0" y="293304"/>
                    <a:pt x="0" y="186786"/>
                  </a:cubicBezTo>
                  <a:cubicBezTo>
                    <a:pt x="0" y="76229"/>
                    <a:pt x="85820" y="0"/>
                    <a:pt x="190319"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18" name="TextBox 17"/>
            <p:cNvSpPr txBox="1">
              <a:spLocks/>
            </p:cNvSpPr>
            <p:nvPr/>
          </p:nvSpPr>
          <p:spPr>
            <a:xfrm>
              <a:off x="2422311" y="5713507"/>
              <a:ext cx="250308" cy="25059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19" name="TextBox 18"/>
            <p:cNvSpPr txBox="1">
              <a:spLocks/>
            </p:cNvSpPr>
            <p:nvPr/>
          </p:nvSpPr>
          <p:spPr>
            <a:xfrm>
              <a:off x="2148125" y="5713855"/>
              <a:ext cx="257619" cy="246763"/>
            </a:xfrm>
            <a:custGeom>
              <a:avLst/>
              <a:gdLst/>
              <a:ahLst/>
              <a:cxnLst/>
              <a:rect l="l" t="t" r="r" b="b"/>
              <a:pathLst>
                <a:path w="373571" h="357921">
                  <a:moveTo>
                    <a:pt x="17164" y="0"/>
                  </a:moveTo>
                  <a:cubicBezTo>
                    <a:pt x="24232" y="3534"/>
                    <a:pt x="35338" y="4544"/>
                    <a:pt x="52502" y="4544"/>
                  </a:cubicBezTo>
                  <a:lnTo>
                    <a:pt x="321069" y="4544"/>
                  </a:lnTo>
                  <a:cubicBezTo>
                    <a:pt x="338233" y="4544"/>
                    <a:pt x="349339" y="3534"/>
                    <a:pt x="356407" y="0"/>
                  </a:cubicBezTo>
                  <a:lnTo>
                    <a:pt x="373571" y="119644"/>
                  </a:lnTo>
                  <a:lnTo>
                    <a:pt x="372561" y="119644"/>
                  </a:lnTo>
                  <a:cubicBezTo>
                    <a:pt x="329651" y="50988"/>
                    <a:pt x="309963" y="17669"/>
                    <a:pt x="255946" y="17669"/>
                  </a:cubicBezTo>
                  <a:lnTo>
                    <a:pt x="234239" y="17669"/>
                  </a:lnTo>
                  <a:lnTo>
                    <a:pt x="234239" y="297847"/>
                  </a:lnTo>
                  <a:cubicBezTo>
                    <a:pt x="234239" y="331165"/>
                    <a:pt x="240802" y="342272"/>
                    <a:pt x="263014" y="356912"/>
                  </a:cubicBezTo>
                  <a:lnTo>
                    <a:pt x="263014" y="357921"/>
                  </a:lnTo>
                  <a:lnTo>
                    <a:pt x="110557" y="357921"/>
                  </a:lnTo>
                  <a:lnTo>
                    <a:pt x="110557" y="356912"/>
                  </a:lnTo>
                  <a:cubicBezTo>
                    <a:pt x="133274" y="342272"/>
                    <a:pt x="139332" y="331165"/>
                    <a:pt x="139332" y="297847"/>
                  </a:cubicBezTo>
                  <a:lnTo>
                    <a:pt x="139332" y="17669"/>
                  </a:lnTo>
                  <a:lnTo>
                    <a:pt x="117624" y="17669"/>
                  </a:lnTo>
                  <a:cubicBezTo>
                    <a:pt x="63608" y="17669"/>
                    <a:pt x="43920" y="50988"/>
                    <a:pt x="1010" y="119644"/>
                  </a:cubicBezTo>
                  <a:lnTo>
                    <a:pt x="0" y="119644"/>
                  </a:lnTo>
                  <a:lnTo>
                    <a:pt x="17164"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grpSp>
          <p:nvGrpSpPr>
            <p:cNvPr id="25" name="Group 24"/>
            <p:cNvGrpSpPr/>
            <p:nvPr/>
          </p:nvGrpSpPr>
          <p:grpSpPr>
            <a:xfrm>
              <a:off x="1465810" y="5723666"/>
              <a:ext cx="414429" cy="91688"/>
              <a:chOff x="1465428" y="5723666"/>
              <a:chExt cx="414321" cy="91688"/>
            </a:xfrm>
          </p:grpSpPr>
          <p:sp>
            <p:nvSpPr>
              <p:cNvPr id="20" name="TextBox 19"/>
              <p:cNvSpPr txBox="1">
                <a:spLocks/>
              </p:cNvSpPr>
              <p:nvPr/>
            </p:nvSpPr>
            <p:spPr>
              <a:xfrm>
                <a:off x="1465428" y="5723666"/>
                <a:ext cx="90135" cy="91688"/>
              </a:xfrm>
              <a:custGeom>
                <a:avLst/>
                <a:gdLst/>
                <a:ahLst/>
                <a:cxnLst/>
                <a:rect l="l" t="t" r="r" b="b"/>
                <a:pathLst>
                  <a:path w="130738" h="132991">
                    <a:moveTo>
                      <a:pt x="65709" y="0"/>
                    </a:moveTo>
                    <a:cubicBezTo>
                      <a:pt x="86122" y="0"/>
                      <a:pt x="102063" y="5891"/>
                      <a:pt x="113533" y="17673"/>
                    </a:cubicBezTo>
                    <a:cubicBezTo>
                      <a:pt x="125003" y="29455"/>
                      <a:pt x="130738" y="45715"/>
                      <a:pt x="130738" y="66451"/>
                    </a:cubicBezTo>
                    <a:cubicBezTo>
                      <a:pt x="130738" y="87129"/>
                      <a:pt x="124987" y="103389"/>
                      <a:pt x="113485" y="115230"/>
                    </a:cubicBezTo>
                    <a:cubicBezTo>
                      <a:pt x="101982" y="127071"/>
                      <a:pt x="85992" y="132991"/>
                      <a:pt x="65515" y="132991"/>
                    </a:cubicBezTo>
                    <a:cubicBezTo>
                      <a:pt x="44584" y="132991"/>
                      <a:pt x="28432" y="127174"/>
                      <a:pt x="17059" y="115539"/>
                    </a:cubicBezTo>
                    <a:cubicBezTo>
                      <a:pt x="5686" y="103904"/>
                      <a:pt x="0" y="87483"/>
                      <a:pt x="0" y="66275"/>
                    </a:cubicBezTo>
                    <a:cubicBezTo>
                      <a:pt x="0" y="45243"/>
                      <a:pt x="5702" y="28940"/>
                      <a:pt x="17107" y="17364"/>
                    </a:cubicBezTo>
                    <a:cubicBezTo>
                      <a:pt x="28513" y="5788"/>
                      <a:pt x="44713" y="0"/>
                      <a:pt x="65709" y="0"/>
                    </a:cubicBezTo>
                    <a:close/>
                    <a:moveTo>
                      <a:pt x="65709" y="13431"/>
                    </a:moveTo>
                    <a:cubicBezTo>
                      <a:pt x="49962" y="13431"/>
                      <a:pt x="37990" y="17953"/>
                      <a:pt x="29793" y="26996"/>
                    </a:cubicBezTo>
                    <a:cubicBezTo>
                      <a:pt x="21595" y="36038"/>
                      <a:pt x="17496" y="49190"/>
                      <a:pt x="17496" y="66451"/>
                    </a:cubicBezTo>
                    <a:cubicBezTo>
                      <a:pt x="17496" y="83948"/>
                      <a:pt x="21595" y="97218"/>
                      <a:pt x="29793" y="106261"/>
                    </a:cubicBezTo>
                    <a:cubicBezTo>
                      <a:pt x="37990" y="115303"/>
                      <a:pt x="49897" y="119825"/>
                      <a:pt x="65515" y="119825"/>
                    </a:cubicBezTo>
                    <a:cubicBezTo>
                      <a:pt x="81262" y="119825"/>
                      <a:pt x="93153" y="115318"/>
                      <a:pt x="101188" y="106305"/>
                    </a:cubicBezTo>
                    <a:cubicBezTo>
                      <a:pt x="109224" y="97291"/>
                      <a:pt x="113242" y="84007"/>
                      <a:pt x="113242" y="66451"/>
                    </a:cubicBezTo>
                    <a:cubicBezTo>
                      <a:pt x="113242" y="49073"/>
                      <a:pt x="109240" y="35891"/>
                      <a:pt x="101237" y="26907"/>
                    </a:cubicBezTo>
                    <a:cubicBezTo>
                      <a:pt x="93234" y="17923"/>
                      <a:pt x="81391" y="13431"/>
                      <a:pt x="65709" y="13431"/>
                    </a:cubicBez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21" name="TextBox 20"/>
              <p:cNvSpPr txBox="1">
                <a:spLocks/>
              </p:cNvSpPr>
              <p:nvPr/>
            </p:nvSpPr>
            <p:spPr>
              <a:xfrm>
                <a:off x="1569024" y="5725066"/>
                <a:ext cx="54618" cy="89069"/>
              </a:xfrm>
              <a:custGeom>
                <a:avLst/>
                <a:gdLst/>
                <a:ahLst/>
                <a:cxnLst/>
                <a:rect l="l" t="t" r="r" b="b"/>
                <a:pathLst>
                  <a:path w="79221" h="129192">
                    <a:moveTo>
                      <a:pt x="0" y="0"/>
                    </a:moveTo>
                    <a:lnTo>
                      <a:pt x="79221" y="0"/>
                    </a:lnTo>
                    <a:lnTo>
                      <a:pt x="79221" y="13343"/>
                    </a:lnTo>
                    <a:lnTo>
                      <a:pt x="16525" y="13343"/>
                    </a:lnTo>
                    <a:lnTo>
                      <a:pt x="16525" y="60620"/>
                    </a:lnTo>
                    <a:lnTo>
                      <a:pt x="75430" y="60620"/>
                    </a:lnTo>
                    <a:lnTo>
                      <a:pt x="75430" y="73963"/>
                    </a:lnTo>
                    <a:lnTo>
                      <a:pt x="16525" y="73963"/>
                    </a:lnTo>
                    <a:lnTo>
                      <a:pt x="16525" y="129192"/>
                    </a:lnTo>
                    <a:lnTo>
                      <a:pt x="0" y="129192"/>
                    </a:lnTo>
                    <a:lnTo>
                      <a:pt x="0" y="0"/>
                    </a:ln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22" name="TextBox 21"/>
              <p:cNvSpPr txBox="1">
                <a:spLocks/>
              </p:cNvSpPr>
              <p:nvPr/>
            </p:nvSpPr>
            <p:spPr>
              <a:xfrm>
                <a:off x="1648696" y="5725066"/>
                <a:ext cx="73449" cy="89069"/>
              </a:xfrm>
              <a:custGeom>
                <a:avLst/>
                <a:gdLst/>
                <a:ahLst/>
                <a:cxnLst/>
                <a:rect l="l" t="t" r="r" b="b"/>
                <a:pathLst>
                  <a:path w="106535" h="129192">
                    <a:moveTo>
                      <a:pt x="0" y="0"/>
                    </a:moveTo>
                    <a:lnTo>
                      <a:pt x="106535" y="0"/>
                    </a:lnTo>
                    <a:lnTo>
                      <a:pt x="106535" y="13343"/>
                    </a:lnTo>
                    <a:lnTo>
                      <a:pt x="61530" y="13343"/>
                    </a:lnTo>
                    <a:lnTo>
                      <a:pt x="61530" y="129192"/>
                    </a:lnTo>
                    <a:lnTo>
                      <a:pt x="45005" y="129192"/>
                    </a:lnTo>
                    <a:lnTo>
                      <a:pt x="45005" y="13343"/>
                    </a:lnTo>
                    <a:lnTo>
                      <a:pt x="0" y="13343"/>
                    </a:lnTo>
                    <a:lnTo>
                      <a:pt x="0" y="0"/>
                    </a:ln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23" name="TextBox 22"/>
              <p:cNvSpPr txBox="1">
                <a:spLocks/>
              </p:cNvSpPr>
              <p:nvPr/>
            </p:nvSpPr>
            <p:spPr>
              <a:xfrm>
                <a:off x="1733195" y="5725066"/>
                <a:ext cx="74387" cy="89069"/>
              </a:xfrm>
              <a:custGeom>
                <a:avLst/>
                <a:gdLst/>
                <a:ahLst/>
                <a:cxnLst/>
                <a:rect l="l" t="t" r="r" b="b"/>
                <a:pathLst>
                  <a:path w="107896" h="129192">
                    <a:moveTo>
                      <a:pt x="0" y="0"/>
                    </a:moveTo>
                    <a:lnTo>
                      <a:pt x="16525" y="0"/>
                    </a:lnTo>
                    <a:lnTo>
                      <a:pt x="16525" y="54964"/>
                    </a:lnTo>
                    <a:lnTo>
                      <a:pt x="91371" y="54964"/>
                    </a:lnTo>
                    <a:lnTo>
                      <a:pt x="91371" y="0"/>
                    </a:lnTo>
                    <a:lnTo>
                      <a:pt x="107896" y="0"/>
                    </a:lnTo>
                    <a:lnTo>
                      <a:pt x="107896" y="129192"/>
                    </a:lnTo>
                    <a:lnTo>
                      <a:pt x="91371" y="129192"/>
                    </a:lnTo>
                    <a:lnTo>
                      <a:pt x="91371" y="68396"/>
                    </a:lnTo>
                    <a:lnTo>
                      <a:pt x="16525" y="68396"/>
                    </a:lnTo>
                    <a:lnTo>
                      <a:pt x="16525" y="129192"/>
                    </a:lnTo>
                    <a:lnTo>
                      <a:pt x="0" y="129192"/>
                    </a:lnTo>
                    <a:lnTo>
                      <a:pt x="0" y="0"/>
                    </a:ln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24" name="TextBox 23"/>
              <p:cNvSpPr txBox="1">
                <a:spLocks/>
              </p:cNvSpPr>
              <p:nvPr/>
            </p:nvSpPr>
            <p:spPr>
              <a:xfrm>
                <a:off x="1825131" y="5725066"/>
                <a:ext cx="54618" cy="89069"/>
              </a:xfrm>
              <a:custGeom>
                <a:avLst/>
                <a:gdLst/>
                <a:ahLst/>
                <a:cxnLst/>
                <a:rect l="l" t="t" r="r" b="b"/>
                <a:pathLst>
                  <a:path w="79221" h="129192">
                    <a:moveTo>
                      <a:pt x="0" y="0"/>
                    </a:moveTo>
                    <a:lnTo>
                      <a:pt x="79221" y="0"/>
                    </a:lnTo>
                    <a:lnTo>
                      <a:pt x="79221" y="13343"/>
                    </a:lnTo>
                    <a:lnTo>
                      <a:pt x="16525" y="13343"/>
                    </a:lnTo>
                    <a:lnTo>
                      <a:pt x="16525" y="54964"/>
                    </a:lnTo>
                    <a:lnTo>
                      <a:pt x="75430" y="54964"/>
                    </a:lnTo>
                    <a:lnTo>
                      <a:pt x="75430" y="68219"/>
                    </a:lnTo>
                    <a:lnTo>
                      <a:pt x="16525" y="68219"/>
                    </a:lnTo>
                    <a:lnTo>
                      <a:pt x="16525" y="115760"/>
                    </a:lnTo>
                    <a:lnTo>
                      <a:pt x="79221" y="115760"/>
                    </a:lnTo>
                    <a:lnTo>
                      <a:pt x="79221" y="129192"/>
                    </a:lnTo>
                    <a:lnTo>
                      <a:pt x="0" y="129192"/>
                    </a:lnTo>
                    <a:lnTo>
                      <a:pt x="0" y="0"/>
                    </a:ln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grpSp>
        <p:sp>
          <p:nvSpPr>
            <p:cNvPr id="11" name="Freeform 9"/>
            <p:cNvSpPr>
              <a:spLocks noEditPoints="1"/>
            </p:cNvSpPr>
            <p:nvPr/>
          </p:nvSpPr>
          <p:spPr bwMode="auto">
            <a:xfrm>
              <a:off x="834187" y="5007328"/>
              <a:ext cx="2121961" cy="1172755"/>
            </a:xfrm>
            <a:custGeom>
              <a:avLst/>
              <a:gdLst>
                <a:gd name="T0" fmla="*/ 279 w 326"/>
                <a:gd name="T1" fmla="*/ 180 h 180"/>
                <a:gd name="T2" fmla="*/ 271 w 326"/>
                <a:gd name="T3" fmla="*/ 179 h 180"/>
                <a:gd name="T4" fmla="*/ 45 w 326"/>
                <a:gd name="T5" fmla="*/ 179 h 180"/>
                <a:gd name="T6" fmla="*/ 6 w 326"/>
                <a:gd name="T7" fmla="*/ 153 h 180"/>
                <a:gd name="T8" fmla="*/ 0 w 326"/>
                <a:gd name="T9" fmla="*/ 129 h 180"/>
                <a:gd name="T10" fmla="*/ 32 w 326"/>
                <a:gd name="T11" fmla="*/ 82 h 180"/>
                <a:gd name="T12" fmla="*/ 30 w 326"/>
                <a:gd name="T13" fmla="*/ 70 h 180"/>
                <a:gd name="T14" fmla="*/ 100 w 326"/>
                <a:gd name="T15" fmla="*/ 0 h 180"/>
                <a:gd name="T16" fmla="*/ 154 w 326"/>
                <a:gd name="T17" fmla="*/ 26 h 180"/>
                <a:gd name="T18" fmla="*/ 187 w 326"/>
                <a:gd name="T19" fmla="*/ 16 h 180"/>
                <a:gd name="T20" fmla="*/ 242 w 326"/>
                <a:gd name="T21" fmla="*/ 55 h 180"/>
                <a:gd name="T22" fmla="*/ 245 w 326"/>
                <a:gd name="T23" fmla="*/ 54 h 180"/>
                <a:gd name="T24" fmla="*/ 280 w 326"/>
                <a:gd name="T25" fmla="*/ 85 h 180"/>
                <a:gd name="T26" fmla="*/ 326 w 326"/>
                <a:gd name="T27" fmla="*/ 132 h 180"/>
                <a:gd name="T28" fmla="*/ 279 w 326"/>
                <a:gd name="T29" fmla="*/ 180 h 180"/>
                <a:gd name="T30" fmla="*/ 100 w 326"/>
                <a:gd name="T31" fmla="*/ 4 h 180"/>
                <a:gd name="T32" fmla="*/ 34 w 326"/>
                <a:gd name="T33" fmla="*/ 70 h 180"/>
                <a:gd name="T34" fmla="*/ 36 w 326"/>
                <a:gd name="T35" fmla="*/ 83 h 180"/>
                <a:gd name="T36" fmla="*/ 36 w 326"/>
                <a:gd name="T37" fmla="*/ 85 h 180"/>
                <a:gd name="T38" fmla="*/ 35 w 326"/>
                <a:gd name="T39" fmla="*/ 86 h 180"/>
                <a:gd name="T40" fmla="*/ 4 w 326"/>
                <a:gd name="T41" fmla="*/ 129 h 180"/>
                <a:gd name="T42" fmla="*/ 10 w 326"/>
                <a:gd name="T43" fmla="*/ 151 h 180"/>
                <a:gd name="T44" fmla="*/ 10 w 326"/>
                <a:gd name="T45" fmla="*/ 151 h 180"/>
                <a:gd name="T46" fmla="*/ 45 w 326"/>
                <a:gd name="T47" fmla="*/ 175 h 180"/>
                <a:gd name="T48" fmla="*/ 271 w 326"/>
                <a:gd name="T49" fmla="*/ 175 h 180"/>
                <a:gd name="T50" fmla="*/ 272 w 326"/>
                <a:gd name="T51" fmla="*/ 175 h 180"/>
                <a:gd name="T52" fmla="*/ 279 w 326"/>
                <a:gd name="T53" fmla="*/ 176 h 180"/>
                <a:gd name="T54" fmla="*/ 322 w 326"/>
                <a:gd name="T55" fmla="*/ 132 h 180"/>
                <a:gd name="T56" fmla="*/ 279 w 326"/>
                <a:gd name="T57" fmla="*/ 89 h 180"/>
                <a:gd name="T58" fmla="*/ 278 w 326"/>
                <a:gd name="T59" fmla="*/ 89 h 180"/>
                <a:gd name="T60" fmla="*/ 276 w 326"/>
                <a:gd name="T61" fmla="*/ 89 h 180"/>
                <a:gd name="T62" fmla="*/ 276 w 326"/>
                <a:gd name="T63" fmla="*/ 87 h 180"/>
                <a:gd name="T64" fmla="*/ 245 w 326"/>
                <a:gd name="T65" fmla="*/ 58 h 180"/>
                <a:gd name="T66" fmla="*/ 240 w 326"/>
                <a:gd name="T67" fmla="*/ 59 h 180"/>
                <a:gd name="T68" fmla="*/ 239 w 326"/>
                <a:gd name="T69" fmla="*/ 59 h 180"/>
                <a:gd name="T70" fmla="*/ 238 w 326"/>
                <a:gd name="T71" fmla="*/ 57 h 180"/>
                <a:gd name="T72" fmla="*/ 187 w 326"/>
                <a:gd name="T73" fmla="*/ 20 h 180"/>
                <a:gd name="T74" fmla="*/ 155 w 326"/>
                <a:gd name="T75" fmla="*/ 30 h 180"/>
                <a:gd name="T76" fmla="*/ 153 w 326"/>
                <a:gd name="T77" fmla="*/ 31 h 180"/>
                <a:gd name="T78" fmla="*/ 152 w 326"/>
                <a:gd name="T79" fmla="*/ 30 h 180"/>
                <a:gd name="T80" fmla="*/ 100 w 326"/>
                <a:gd name="T8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6" h="180">
                  <a:moveTo>
                    <a:pt x="279" y="180"/>
                  </a:moveTo>
                  <a:cubicBezTo>
                    <a:pt x="276" y="180"/>
                    <a:pt x="274" y="179"/>
                    <a:pt x="271" y="179"/>
                  </a:cubicBezTo>
                  <a:cubicBezTo>
                    <a:pt x="45" y="179"/>
                    <a:pt x="45" y="179"/>
                    <a:pt x="45" y="179"/>
                  </a:cubicBezTo>
                  <a:cubicBezTo>
                    <a:pt x="28" y="179"/>
                    <a:pt x="13" y="169"/>
                    <a:pt x="6" y="153"/>
                  </a:cubicBezTo>
                  <a:cubicBezTo>
                    <a:pt x="2" y="146"/>
                    <a:pt x="0" y="137"/>
                    <a:pt x="0" y="129"/>
                  </a:cubicBezTo>
                  <a:cubicBezTo>
                    <a:pt x="0" y="109"/>
                    <a:pt x="13" y="90"/>
                    <a:pt x="32" y="82"/>
                  </a:cubicBezTo>
                  <a:cubicBezTo>
                    <a:pt x="31" y="78"/>
                    <a:pt x="30" y="74"/>
                    <a:pt x="30" y="70"/>
                  </a:cubicBezTo>
                  <a:cubicBezTo>
                    <a:pt x="30" y="32"/>
                    <a:pt x="62" y="0"/>
                    <a:pt x="100" y="0"/>
                  </a:cubicBezTo>
                  <a:cubicBezTo>
                    <a:pt x="121" y="0"/>
                    <a:pt x="141" y="10"/>
                    <a:pt x="154" y="26"/>
                  </a:cubicBezTo>
                  <a:cubicBezTo>
                    <a:pt x="164" y="19"/>
                    <a:pt x="175" y="16"/>
                    <a:pt x="187" y="16"/>
                  </a:cubicBezTo>
                  <a:cubicBezTo>
                    <a:pt x="212" y="16"/>
                    <a:pt x="233" y="31"/>
                    <a:pt x="242" y="55"/>
                  </a:cubicBezTo>
                  <a:cubicBezTo>
                    <a:pt x="243" y="54"/>
                    <a:pt x="244" y="54"/>
                    <a:pt x="245" y="54"/>
                  </a:cubicBezTo>
                  <a:cubicBezTo>
                    <a:pt x="263" y="54"/>
                    <a:pt x="278" y="68"/>
                    <a:pt x="280" y="85"/>
                  </a:cubicBezTo>
                  <a:cubicBezTo>
                    <a:pt x="305" y="86"/>
                    <a:pt x="326" y="107"/>
                    <a:pt x="326" y="132"/>
                  </a:cubicBezTo>
                  <a:cubicBezTo>
                    <a:pt x="326" y="158"/>
                    <a:pt x="305" y="180"/>
                    <a:pt x="279" y="180"/>
                  </a:cubicBezTo>
                  <a:close/>
                  <a:moveTo>
                    <a:pt x="100" y="4"/>
                  </a:moveTo>
                  <a:cubicBezTo>
                    <a:pt x="64" y="4"/>
                    <a:pt x="34" y="34"/>
                    <a:pt x="34" y="70"/>
                  </a:cubicBezTo>
                  <a:cubicBezTo>
                    <a:pt x="34" y="75"/>
                    <a:pt x="35" y="79"/>
                    <a:pt x="36" y="83"/>
                  </a:cubicBezTo>
                  <a:cubicBezTo>
                    <a:pt x="36" y="85"/>
                    <a:pt x="36" y="85"/>
                    <a:pt x="36" y="85"/>
                  </a:cubicBezTo>
                  <a:cubicBezTo>
                    <a:pt x="35" y="86"/>
                    <a:pt x="35" y="86"/>
                    <a:pt x="35" y="86"/>
                  </a:cubicBezTo>
                  <a:cubicBezTo>
                    <a:pt x="16" y="92"/>
                    <a:pt x="4" y="110"/>
                    <a:pt x="4" y="129"/>
                  </a:cubicBezTo>
                  <a:cubicBezTo>
                    <a:pt x="4" y="137"/>
                    <a:pt x="6" y="144"/>
                    <a:pt x="10" y="151"/>
                  </a:cubicBezTo>
                  <a:cubicBezTo>
                    <a:pt x="10" y="151"/>
                    <a:pt x="10" y="151"/>
                    <a:pt x="10" y="151"/>
                  </a:cubicBezTo>
                  <a:cubicBezTo>
                    <a:pt x="16" y="166"/>
                    <a:pt x="30" y="175"/>
                    <a:pt x="45" y="175"/>
                  </a:cubicBezTo>
                  <a:cubicBezTo>
                    <a:pt x="271" y="175"/>
                    <a:pt x="271" y="175"/>
                    <a:pt x="271" y="175"/>
                  </a:cubicBezTo>
                  <a:cubicBezTo>
                    <a:pt x="272" y="175"/>
                    <a:pt x="272" y="175"/>
                    <a:pt x="272" y="175"/>
                  </a:cubicBezTo>
                  <a:cubicBezTo>
                    <a:pt x="274" y="175"/>
                    <a:pt x="276" y="176"/>
                    <a:pt x="279" y="176"/>
                  </a:cubicBezTo>
                  <a:cubicBezTo>
                    <a:pt x="303" y="176"/>
                    <a:pt x="322" y="156"/>
                    <a:pt x="322" y="132"/>
                  </a:cubicBezTo>
                  <a:cubicBezTo>
                    <a:pt x="322" y="109"/>
                    <a:pt x="303" y="89"/>
                    <a:pt x="279" y="89"/>
                  </a:cubicBezTo>
                  <a:cubicBezTo>
                    <a:pt x="279" y="89"/>
                    <a:pt x="278" y="89"/>
                    <a:pt x="278" y="89"/>
                  </a:cubicBezTo>
                  <a:cubicBezTo>
                    <a:pt x="276" y="89"/>
                    <a:pt x="276" y="89"/>
                    <a:pt x="276" y="89"/>
                  </a:cubicBezTo>
                  <a:cubicBezTo>
                    <a:pt x="276" y="87"/>
                    <a:pt x="276" y="87"/>
                    <a:pt x="276" y="87"/>
                  </a:cubicBezTo>
                  <a:cubicBezTo>
                    <a:pt x="275" y="71"/>
                    <a:pt x="261" y="58"/>
                    <a:pt x="245" y="58"/>
                  </a:cubicBezTo>
                  <a:cubicBezTo>
                    <a:pt x="243" y="58"/>
                    <a:pt x="242" y="59"/>
                    <a:pt x="240" y="59"/>
                  </a:cubicBezTo>
                  <a:cubicBezTo>
                    <a:pt x="239" y="59"/>
                    <a:pt x="239" y="59"/>
                    <a:pt x="239" y="59"/>
                  </a:cubicBezTo>
                  <a:cubicBezTo>
                    <a:pt x="238" y="57"/>
                    <a:pt x="238" y="57"/>
                    <a:pt x="238" y="57"/>
                  </a:cubicBezTo>
                  <a:cubicBezTo>
                    <a:pt x="231" y="35"/>
                    <a:pt x="210" y="20"/>
                    <a:pt x="187" y="20"/>
                  </a:cubicBezTo>
                  <a:cubicBezTo>
                    <a:pt x="175" y="20"/>
                    <a:pt x="164" y="23"/>
                    <a:pt x="155" y="30"/>
                  </a:cubicBezTo>
                  <a:cubicBezTo>
                    <a:pt x="153" y="31"/>
                    <a:pt x="153" y="31"/>
                    <a:pt x="153" y="31"/>
                  </a:cubicBezTo>
                  <a:cubicBezTo>
                    <a:pt x="152" y="30"/>
                    <a:pt x="152" y="30"/>
                    <a:pt x="152" y="30"/>
                  </a:cubicBezTo>
                  <a:cubicBezTo>
                    <a:pt x="139" y="14"/>
                    <a:pt x="121" y="4"/>
                    <a:pt x="100" y="4"/>
                  </a:cubicBezTo>
                  <a:close/>
                </a:path>
              </a:pathLst>
            </a:custGeom>
            <a:solidFill>
              <a:srgbClr val="34697F"/>
            </a:solidFill>
            <a:ln>
              <a:noFill/>
            </a:ln>
            <a:extLst/>
          </p:spPr>
          <p:txBody>
            <a:bodyPr vert="horz" wrap="square" lIns="91440" tIns="45720" rIns="91440" bIns="45720" numCol="1" anchor="t" anchorCtr="0" compatLnSpc="1">
              <a:prstTxWarp prst="textNoShape">
                <a:avLst/>
              </a:prstTxWarp>
            </a:bodyPr>
            <a:lstStyle/>
            <a:p>
              <a:endParaRPr lang="en-US" sz="1800">
                <a:latin typeface="Arial" panose="020B0604020202020204" pitchFamily="34" charset="0"/>
                <a:cs typeface="Arial" panose="020B0604020202020204" pitchFamily="34" charset="0"/>
                <a:sym typeface="Arial" panose="020B0604020202020204" pitchFamily="34" charset="0"/>
              </a:endParaRPr>
            </a:p>
          </p:txBody>
        </p:sp>
      </p:grpSp>
      <p:sp>
        <p:nvSpPr>
          <p:cNvPr id="26" name="Text Placeholder 7"/>
          <p:cNvSpPr>
            <a:spLocks noGrp="1"/>
          </p:cNvSpPr>
          <p:nvPr>
            <p:ph type="body" sz="quarter" idx="11" hasCustomPrompt="1"/>
          </p:nvPr>
        </p:nvSpPr>
        <p:spPr>
          <a:xfrm>
            <a:off x="4078427" y="5460984"/>
            <a:ext cx="2844943" cy="431800"/>
          </a:xfrm>
          <a:prstGeom prst="rect">
            <a:avLst/>
          </a:prstGeom>
        </p:spPr>
        <p:txBody>
          <a:bodyPr rIns="0" anchor="b"/>
          <a:lstStyle>
            <a:lvl1pPr algn="r">
              <a:defRPr sz="1200" baseline="0">
                <a:solidFill>
                  <a:srgbClr val="FFFFFF"/>
                </a:solidFill>
                <a:latin typeface="Arial" panose="020B0604020202020204" pitchFamily="34" charset="0"/>
                <a:cs typeface="Arial" panose="020B0604020202020204" pitchFamily="34" charset="0"/>
                <a:sym typeface="Arial" panose="020B0604020202020204" pitchFamily="34" charset="0"/>
              </a:defRPr>
            </a:lvl1pPr>
          </a:lstStyle>
          <a:p>
            <a:pPr lvl="0"/>
            <a:r>
              <a:rPr lang="en-US" dirty="0"/>
              <a:t>Presenter Name</a:t>
            </a:r>
            <a:endParaRPr lang="tr-TR" dirty="0"/>
          </a:p>
        </p:txBody>
      </p:sp>
      <p:sp>
        <p:nvSpPr>
          <p:cNvPr id="27" name="Title 1"/>
          <p:cNvSpPr>
            <a:spLocks noGrp="1"/>
          </p:cNvSpPr>
          <p:nvPr>
            <p:ph type="ctrTitle" hasCustomPrompt="1"/>
          </p:nvPr>
        </p:nvSpPr>
        <p:spPr>
          <a:xfrm>
            <a:off x="822960" y="640080"/>
            <a:ext cx="5585018" cy="2630356"/>
          </a:xfrm>
          <a:prstGeom prst="rect">
            <a:avLst/>
          </a:prstGeom>
        </p:spPr>
        <p:txBody>
          <a:bodyPr lIns="0" anchor="t"/>
          <a:lstStyle>
            <a:lvl1pPr algn="l">
              <a:lnSpc>
                <a:spcPct val="80000"/>
              </a:lnSpc>
              <a:defRPr sz="7200" b="1" baseline="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r>
              <a:rPr lang="en-US" dirty="0"/>
              <a:t>Cover Slide Title</a:t>
            </a:r>
          </a:p>
        </p:txBody>
      </p:sp>
      <p:sp>
        <p:nvSpPr>
          <p:cNvPr id="30" name="Text Placeholder 7"/>
          <p:cNvSpPr>
            <a:spLocks noGrp="1"/>
          </p:cNvSpPr>
          <p:nvPr>
            <p:ph type="body" sz="quarter" idx="12" hasCustomPrompt="1"/>
          </p:nvPr>
        </p:nvSpPr>
        <p:spPr>
          <a:xfrm>
            <a:off x="822960" y="3383280"/>
            <a:ext cx="5578857" cy="431800"/>
          </a:xfrm>
          <a:prstGeom prst="rect">
            <a:avLst/>
          </a:prstGeom>
        </p:spPr>
        <p:txBody>
          <a:bodyPr lIns="0" anchor="ctr" anchorCtr="0"/>
          <a:lstStyle>
            <a:lvl1pPr algn="l">
              <a:defRPr sz="2400" baseline="0">
                <a:solidFill>
                  <a:srgbClr val="FFFFFF"/>
                </a:solidFill>
                <a:latin typeface="Arial" panose="020B0604020202020204" pitchFamily="34" charset="0"/>
                <a:cs typeface="Arial" panose="020B0604020202020204" pitchFamily="34" charset="0"/>
                <a:sym typeface="Arial" panose="020B0604020202020204" pitchFamily="34" charset="0"/>
              </a:defRPr>
            </a:lvl1pPr>
          </a:lstStyle>
          <a:p>
            <a:pPr lvl="0"/>
            <a:r>
              <a:rPr lang="en-US" dirty="0"/>
              <a:t>Second Level Title</a:t>
            </a:r>
            <a:endParaRPr lang="tr-TR" dirty="0"/>
          </a:p>
        </p:txBody>
      </p:sp>
      <p:sp>
        <p:nvSpPr>
          <p:cNvPr id="31" name="Text Placeholder 7"/>
          <p:cNvSpPr>
            <a:spLocks noGrp="1"/>
          </p:cNvSpPr>
          <p:nvPr>
            <p:ph type="body" sz="quarter" idx="13" hasCustomPrompt="1"/>
          </p:nvPr>
        </p:nvSpPr>
        <p:spPr>
          <a:xfrm>
            <a:off x="4078427" y="5892928"/>
            <a:ext cx="2844943" cy="431800"/>
          </a:xfrm>
          <a:prstGeom prst="rect">
            <a:avLst/>
          </a:prstGeom>
        </p:spPr>
        <p:txBody>
          <a:bodyPr rIns="0" anchor="b"/>
          <a:lstStyle>
            <a:lvl1pPr algn="r">
              <a:defRPr sz="1800" baseline="0">
                <a:solidFill>
                  <a:srgbClr val="FFFFFF"/>
                </a:solidFill>
                <a:latin typeface="Arial" panose="020B0604020202020204" pitchFamily="34" charset="0"/>
                <a:cs typeface="Arial" panose="020B0604020202020204" pitchFamily="34" charset="0"/>
                <a:sym typeface="Arial" panose="020B0604020202020204" pitchFamily="34" charset="0"/>
              </a:defRPr>
            </a:lvl1pPr>
          </a:lstStyle>
          <a:p>
            <a:pPr lvl="0"/>
            <a:r>
              <a:rPr lang="en-US" dirty="0"/>
              <a:t>Date</a:t>
            </a:r>
            <a:endParaRPr lang="tr-TR" dirty="0"/>
          </a:p>
        </p:txBody>
      </p:sp>
      <p:sp>
        <p:nvSpPr>
          <p:cNvPr id="32" name="Picture Placeholder 5"/>
          <p:cNvSpPr>
            <a:spLocks noGrp="1"/>
          </p:cNvSpPr>
          <p:nvPr>
            <p:ph type="pic" sz="quarter" idx="14" hasCustomPrompt="1"/>
          </p:nvPr>
        </p:nvSpPr>
        <p:spPr>
          <a:xfrm>
            <a:off x="7751365" y="1"/>
            <a:ext cx="4440635" cy="3383280"/>
          </a:xfrm>
          <a:prstGeom prst="rect">
            <a:avLst/>
          </a:prstGeom>
          <a:solidFill>
            <a:schemeClr val="bg2"/>
          </a:solidFill>
        </p:spPr>
        <p:txBody>
          <a:bodyPr anchor="ctr"/>
          <a:lstStyle>
            <a:lvl1pPr algn="ctr">
              <a:defRPr sz="3200">
                <a:solidFill>
                  <a:schemeClr val="bg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stStyle>
          <a:p>
            <a:r>
              <a:rPr lang="en-US" dirty="0"/>
              <a:t>IMAGE</a:t>
            </a:r>
          </a:p>
        </p:txBody>
      </p:sp>
      <p:sp>
        <p:nvSpPr>
          <p:cNvPr id="28" name="Rectangle 27"/>
          <p:cNvSpPr/>
          <p:nvPr userDrawn="1"/>
        </p:nvSpPr>
        <p:spPr>
          <a:xfrm>
            <a:off x="7749346" y="3375049"/>
            <a:ext cx="4442654" cy="118872"/>
          </a:xfrm>
          <a:prstGeom prst="rect">
            <a:avLst/>
          </a:prstGeom>
          <a:solidFill>
            <a:srgbClr val="043B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Arial" panose="020B0604020202020204" pitchFamily="34" charset="0"/>
              <a:cs typeface="Arial" panose="020B0604020202020204" pitchFamily="34" charset="0"/>
              <a:sym typeface="Arial" panose="020B0604020202020204" pitchFamily="34" charset="0"/>
            </a:endParaRPr>
          </a:p>
        </p:txBody>
      </p:sp>
      <p:grpSp>
        <p:nvGrpSpPr>
          <p:cNvPr id="29" name="Group 28">
            <a:extLst>
              <a:ext uri="{FF2B5EF4-FFF2-40B4-BE49-F238E27FC236}">
                <a16:creationId xmlns:a16="http://schemas.microsoft.com/office/drawing/2014/main" id="{0860573B-7502-4EE6-AE67-B3B2FFD71F32}"/>
              </a:ext>
            </a:extLst>
          </p:cNvPr>
          <p:cNvGrpSpPr>
            <a:grpSpLocks noChangeAspect="1"/>
          </p:cNvGrpSpPr>
          <p:nvPr userDrawn="1"/>
        </p:nvGrpSpPr>
        <p:grpSpPr>
          <a:xfrm>
            <a:off x="9472900" y="5931510"/>
            <a:ext cx="2192529" cy="292877"/>
            <a:chOff x="279400" y="2781300"/>
            <a:chExt cx="8585200" cy="1092200"/>
          </a:xfrm>
        </p:grpSpPr>
        <p:sp>
          <p:nvSpPr>
            <p:cNvPr id="33" name="Freeform 5">
              <a:extLst>
                <a:ext uri="{FF2B5EF4-FFF2-40B4-BE49-F238E27FC236}">
                  <a16:creationId xmlns:a16="http://schemas.microsoft.com/office/drawing/2014/main" id="{264CBBCF-7D70-4513-96B2-BDE78A1BE2AC}"/>
                </a:ext>
              </a:extLst>
            </p:cNvPr>
            <p:cNvSpPr>
              <a:spLocks/>
            </p:cNvSpPr>
            <p:nvPr/>
          </p:nvSpPr>
          <p:spPr bwMode="auto">
            <a:xfrm>
              <a:off x="4605338" y="2816225"/>
              <a:ext cx="958850" cy="1035050"/>
            </a:xfrm>
            <a:custGeom>
              <a:avLst/>
              <a:gdLst>
                <a:gd name="T0" fmla="*/ 142 w 604"/>
                <a:gd name="T1" fmla="*/ 272 h 652"/>
                <a:gd name="T2" fmla="*/ 142 w 604"/>
                <a:gd name="T3" fmla="*/ 57 h 652"/>
                <a:gd name="T4" fmla="*/ 206 w 604"/>
                <a:gd name="T5" fmla="*/ 57 h 652"/>
                <a:gd name="T6" fmla="*/ 206 w 604"/>
                <a:gd name="T7" fmla="*/ 0 h 652"/>
                <a:gd name="T8" fmla="*/ 0 w 604"/>
                <a:gd name="T9" fmla="*/ 0 h 652"/>
                <a:gd name="T10" fmla="*/ 0 w 604"/>
                <a:gd name="T11" fmla="*/ 57 h 652"/>
                <a:gd name="T12" fmla="*/ 64 w 604"/>
                <a:gd name="T13" fmla="*/ 57 h 652"/>
                <a:gd name="T14" fmla="*/ 64 w 604"/>
                <a:gd name="T15" fmla="*/ 587 h 652"/>
                <a:gd name="T16" fmla="*/ 0 w 604"/>
                <a:gd name="T17" fmla="*/ 587 h 652"/>
                <a:gd name="T18" fmla="*/ 0 w 604"/>
                <a:gd name="T19" fmla="*/ 652 h 652"/>
                <a:gd name="T20" fmla="*/ 206 w 604"/>
                <a:gd name="T21" fmla="*/ 652 h 652"/>
                <a:gd name="T22" fmla="*/ 206 w 604"/>
                <a:gd name="T23" fmla="*/ 587 h 652"/>
                <a:gd name="T24" fmla="*/ 142 w 604"/>
                <a:gd name="T25" fmla="*/ 587 h 652"/>
                <a:gd name="T26" fmla="*/ 142 w 604"/>
                <a:gd name="T27" fmla="*/ 329 h 652"/>
                <a:gd name="T28" fmla="*/ 462 w 604"/>
                <a:gd name="T29" fmla="*/ 329 h 652"/>
                <a:gd name="T30" fmla="*/ 462 w 604"/>
                <a:gd name="T31" fmla="*/ 587 h 652"/>
                <a:gd name="T32" fmla="*/ 398 w 604"/>
                <a:gd name="T33" fmla="*/ 587 h 652"/>
                <a:gd name="T34" fmla="*/ 398 w 604"/>
                <a:gd name="T35" fmla="*/ 652 h 652"/>
                <a:gd name="T36" fmla="*/ 604 w 604"/>
                <a:gd name="T37" fmla="*/ 652 h 652"/>
                <a:gd name="T38" fmla="*/ 604 w 604"/>
                <a:gd name="T39" fmla="*/ 587 h 652"/>
                <a:gd name="T40" fmla="*/ 540 w 604"/>
                <a:gd name="T41" fmla="*/ 587 h 652"/>
                <a:gd name="T42" fmla="*/ 540 w 604"/>
                <a:gd name="T43" fmla="*/ 57 h 652"/>
                <a:gd name="T44" fmla="*/ 604 w 604"/>
                <a:gd name="T45" fmla="*/ 57 h 652"/>
                <a:gd name="T46" fmla="*/ 604 w 604"/>
                <a:gd name="T47" fmla="*/ 0 h 652"/>
                <a:gd name="T48" fmla="*/ 398 w 604"/>
                <a:gd name="T49" fmla="*/ 0 h 652"/>
                <a:gd name="T50" fmla="*/ 398 w 604"/>
                <a:gd name="T51" fmla="*/ 57 h 652"/>
                <a:gd name="T52" fmla="*/ 462 w 604"/>
                <a:gd name="T53" fmla="*/ 57 h 652"/>
                <a:gd name="T54" fmla="*/ 462 w 604"/>
                <a:gd name="T55" fmla="*/ 272 h 652"/>
                <a:gd name="T56" fmla="*/ 142 w 604"/>
                <a:gd name="T57" fmla="*/ 27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4" h="652">
                  <a:moveTo>
                    <a:pt x="142" y="272"/>
                  </a:moveTo>
                  <a:lnTo>
                    <a:pt x="142" y="57"/>
                  </a:lnTo>
                  <a:lnTo>
                    <a:pt x="206" y="57"/>
                  </a:lnTo>
                  <a:lnTo>
                    <a:pt x="206" y="0"/>
                  </a:lnTo>
                  <a:lnTo>
                    <a:pt x="0" y="0"/>
                  </a:lnTo>
                  <a:lnTo>
                    <a:pt x="0" y="57"/>
                  </a:lnTo>
                  <a:lnTo>
                    <a:pt x="64" y="57"/>
                  </a:lnTo>
                  <a:lnTo>
                    <a:pt x="64" y="587"/>
                  </a:lnTo>
                  <a:lnTo>
                    <a:pt x="0" y="587"/>
                  </a:lnTo>
                  <a:lnTo>
                    <a:pt x="0" y="652"/>
                  </a:lnTo>
                  <a:lnTo>
                    <a:pt x="206" y="652"/>
                  </a:lnTo>
                  <a:lnTo>
                    <a:pt x="206" y="587"/>
                  </a:lnTo>
                  <a:lnTo>
                    <a:pt x="142" y="587"/>
                  </a:lnTo>
                  <a:lnTo>
                    <a:pt x="142" y="329"/>
                  </a:lnTo>
                  <a:lnTo>
                    <a:pt x="462" y="329"/>
                  </a:lnTo>
                  <a:lnTo>
                    <a:pt x="462" y="587"/>
                  </a:lnTo>
                  <a:lnTo>
                    <a:pt x="398" y="587"/>
                  </a:lnTo>
                  <a:lnTo>
                    <a:pt x="398" y="652"/>
                  </a:lnTo>
                  <a:lnTo>
                    <a:pt x="604" y="652"/>
                  </a:lnTo>
                  <a:lnTo>
                    <a:pt x="604" y="587"/>
                  </a:lnTo>
                  <a:lnTo>
                    <a:pt x="540" y="587"/>
                  </a:lnTo>
                  <a:lnTo>
                    <a:pt x="540" y="57"/>
                  </a:lnTo>
                  <a:lnTo>
                    <a:pt x="604" y="57"/>
                  </a:lnTo>
                  <a:lnTo>
                    <a:pt x="604" y="0"/>
                  </a:lnTo>
                  <a:lnTo>
                    <a:pt x="398" y="0"/>
                  </a:lnTo>
                  <a:lnTo>
                    <a:pt x="398" y="57"/>
                  </a:lnTo>
                  <a:lnTo>
                    <a:pt x="462" y="57"/>
                  </a:lnTo>
                  <a:lnTo>
                    <a:pt x="462" y="272"/>
                  </a:lnTo>
                  <a:lnTo>
                    <a:pt x="142" y="2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34" name="Freeform 6">
              <a:extLst>
                <a:ext uri="{FF2B5EF4-FFF2-40B4-BE49-F238E27FC236}">
                  <a16:creationId xmlns:a16="http://schemas.microsoft.com/office/drawing/2014/main" id="{CB55B7D8-3723-4CA7-83E2-4ECF2520F18B}"/>
                </a:ext>
              </a:extLst>
            </p:cNvPr>
            <p:cNvSpPr>
              <a:spLocks/>
            </p:cNvSpPr>
            <p:nvPr/>
          </p:nvSpPr>
          <p:spPr bwMode="auto">
            <a:xfrm>
              <a:off x="8042275" y="2816225"/>
              <a:ext cx="822325" cy="1035050"/>
            </a:xfrm>
            <a:custGeom>
              <a:avLst/>
              <a:gdLst>
                <a:gd name="T0" fmla="*/ 27 w 73"/>
                <a:gd name="T1" fmla="*/ 82 h 91"/>
                <a:gd name="T2" fmla="*/ 19 w 73"/>
                <a:gd name="T3" fmla="*/ 82 h 91"/>
                <a:gd name="T4" fmla="*/ 19 w 73"/>
                <a:gd name="T5" fmla="*/ 54 h 91"/>
                <a:gd name="T6" fmla="*/ 37 w 73"/>
                <a:gd name="T7" fmla="*/ 35 h 91"/>
                <a:gd name="T8" fmla="*/ 55 w 73"/>
                <a:gd name="T9" fmla="*/ 54 h 91"/>
                <a:gd name="T10" fmla="*/ 55 w 73"/>
                <a:gd name="T11" fmla="*/ 82 h 91"/>
                <a:gd name="T12" fmla="*/ 46 w 73"/>
                <a:gd name="T13" fmla="*/ 82 h 91"/>
                <a:gd name="T14" fmla="*/ 46 w 73"/>
                <a:gd name="T15" fmla="*/ 91 h 91"/>
                <a:gd name="T16" fmla="*/ 73 w 73"/>
                <a:gd name="T17" fmla="*/ 91 h 91"/>
                <a:gd name="T18" fmla="*/ 73 w 73"/>
                <a:gd name="T19" fmla="*/ 82 h 91"/>
                <a:gd name="T20" fmla="*/ 65 w 73"/>
                <a:gd name="T21" fmla="*/ 82 h 91"/>
                <a:gd name="T22" fmla="*/ 65 w 73"/>
                <a:gd name="T23" fmla="*/ 54 h 91"/>
                <a:gd name="T24" fmla="*/ 38 w 73"/>
                <a:gd name="T25" fmla="*/ 26 h 91"/>
                <a:gd name="T26" fmla="*/ 19 w 73"/>
                <a:gd name="T27" fmla="*/ 35 h 91"/>
                <a:gd name="T28" fmla="*/ 19 w 73"/>
                <a:gd name="T29" fmla="*/ 0 h 91"/>
                <a:gd name="T30" fmla="*/ 0 w 73"/>
                <a:gd name="T31" fmla="*/ 0 h 91"/>
                <a:gd name="T32" fmla="*/ 0 w 73"/>
                <a:gd name="T33" fmla="*/ 8 h 91"/>
                <a:gd name="T34" fmla="*/ 9 w 73"/>
                <a:gd name="T35" fmla="*/ 8 h 91"/>
                <a:gd name="T36" fmla="*/ 9 w 73"/>
                <a:gd name="T37" fmla="*/ 82 h 91"/>
                <a:gd name="T38" fmla="*/ 0 w 73"/>
                <a:gd name="T39" fmla="*/ 82 h 91"/>
                <a:gd name="T40" fmla="*/ 0 w 73"/>
                <a:gd name="T41" fmla="*/ 91 h 91"/>
                <a:gd name="T42" fmla="*/ 27 w 73"/>
                <a:gd name="T43" fmla="*/ 91 h 91"/>
                <a:gd name="T44" fmla="*/ 27 w 73"/>
                <a:gd name="T45" fmla="*/ 8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3" h="91">
                  <a:moveTo>
                    <a:pt x="27" y="82"/>
                  </a:moveTo>
                  <a:cubicBezTo>
                    <a:pt x="19" y="82"/>
                    <a:pt x="19" y="82"/>
                    <a:pt x="19" y="82"/>
                  </a:cubicBezTo>
                  <a:cubicBezTo>
                    <a:pt x="19" y="54"/>
                    <a:pt x="19" y="54"/>
                    <a:pt x="19" y="54"/>
                  </a:cubicBezTo>
                  <a:cubicBezTo>
                    <a:pt x="19" y="41"/>
                    <a:pt x="25" y="35"/>
                    <a:pt x="37" y="35"/>
                  </a:cubicBezTo>
                  <a:cubicBezTo>
                    <a:pt x="48" y="35"/>
                    <a:pt x="55" y="41"/>
                    <a:pt x="55" y="54"/>
                  </a:cubicBezTo>
                  <a:cubicBezTo>
                    <a:pt x="55" y="82"/>
                    <a:pt x="55" y="82"/>
                    <a:pt x="55" y="82"/>
                  </a:cubicBezTo>
                  <a:cubicBezTo>
                    <a:pt x="46" y="82"/>
                    <a:pt x="46" y="82"/>
                    <a:pt x="46" y="82"/>
                  </a:cubicBezTo>
                  <a:cubicBezTo>
                    <a:pt x="46" y="91"/>
                    <a:pt x="46" y="91"/>
                    <a:pt x="46" y="91"/>
                  </a:cubicBezTo>
                  <a:cubicBezTo>
                    <a:pt x="73" y="91"/>
                    <a:pt x="73" y="91"/>
                    <a:pt x="73" y="91"/>
                  </a:cubicBezTo>
                  <a:cubicBezTo>
                    <a:pt x="73" y="82"/>
                    <a:pt x="73" y="82"/>
                    <a:pt x="73" y="82"/>
                  </a:cubicBezTo>
                  <a:cubicBezTo>
                    <a:pt x="65" y="82"/>
                    <a:pt x="65" y="82"/>
                    <a:pt x="65" y="82"/>
                  </a:cubicBezTo>
                  <a:cubicBezTo>
                    <a:pt x="65" y="54"/>
                    <a:pt x="65" y="54"/>
                    <a:pt x="65" y="54"/>
                  </a:cubicBezTo>
                  <a:cubicBezTo>
                    <a:pt x="65" y="39"/>
                    <a:pt x="55" y="26"/>
                    <a:pt x="38" y="26"/>
                  </a:cubicBezTo>
                  <a:cubicBezTo>
                    <a:pt x="30" y="26"/>
                    <a:pt x="23" y="29"/>
                    <a:pt x="19" y="35"/>
                  </a:cubicBezTo>
                  <a:cubicBezTo>
                    <a:pt x="19" y="0"/>
                    <a:pt x="19" y="0"/>
                    <a:pt x="19" y="0"/>
                  </a:cubicBezTo>
                  <a:cubicBezTo>
                    <a:pt x="0" y="0"/>
                    <a:pt x="0" y="0"/>
                    <a:pt x="0" y="0"/>
                  </a:cubicBezTo>
                  <a:cubicBezTo>
                    <a:pt x="0" y="8"/>
                    <a:pt x="0" y="8"/>
                    <a:pt x="0" y="8"/>
                  </a:cubicBezTo>
                  <a:cubicBezTo>
                    <a:pt x="9" y="8"/>
                    <a:pt x="9" y="8"/>
                    <a:pt x="9" y="8"/>
                  </a:cubicBezTo>
                  <a:cubicBezTo>
                    <a:pt x="9" y="82"/>
                    <a:pt x="9" y="82"/>
                    <a:pt x="9" y="82"/>
                  </a:cubicBezTo>
                  <a:cubicBezTo>
                    <a:pt x="0" y="82"/>
                    <a:pt x="0" y="82"/>
                    <a:pt x="0" y="82"/>
                  </a:cubicBezTo>
                  <a:cubicBezTo>
                    <a:pt x="0" y="91"/>
                    <a:pt x="0" y="91"/>
                    <a:pt x="0" y="91"/>
                  </a:cubicBezTo>
                  <a:cubicBezTo>
                    <a:pt x="27" y="91"/>
                    <a:pt x="27" y="91"/>
                    <a:pt x="27" y="91"/>
                  </a:cubicBezTo>
                  <a:lnTo>
                    <a:pt x="27"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35" name="Freeform 7">
              <a:extLst>
                <a:ext uri="{FF2B5EF4-FFF2-40B4-BE49-F238E27FC236}">
                  <a16:creationId xmlns:a16="http://schemas.microsoft.com/office/drawing/2014/main" id="{66826270-096D-4A0F-B57D-78D557210E97}"/>
                </a:ext>
              </a:extLst>
            </p:cNvPr>
            <p:cNvSpPr>
              <a:spLocks noEditPoints="1"/>
            </p:cNvSpPr>
            <p:nvPr/>
          </p:nvSpPr>
          <p:spPr bwMode="auto">
            <a:xfrm>
              <a:off x="6419850" y="3111500"/>
              <a:ext cx="822325" cy="750888"/>
            </a:xfrm>
            <a:custGeom>
              <a:avLst/>
              <a:gdLst>
                <a:gd name="T0" fmla="*/ 73 w 73"/>
                <a:gd name="T1" fmla="*/ 10 h 66"/>
                <a:gd name="T2" fmla="*/ 73 w 73"/>
                <a:gd name="T3" fmla="*/ 2 h 66"/>
                <a:gd name="T4" fmla="*/ 54 w 73"/>
                <a:gd name="T5" fmla="*/ 2 h 66"/>
                <a:gd name="T6" fmla="*/ 54 w 73"/>
                <a:gd name="T7" fmla="*/ 11 h 66"/>
                <a:gd name="T8" fmla="*/ 31 w 73"/>
                <a:gd name="T9" fmla="*/ 0 h 66"/>
                <a:gd name="T10" fmla="*/ 0 w 73"/>
                <a:gd name="T11" fmla="*/ 33 h 66"/>
                <a:gd name="T12" fmla="*/ 31 w 73"/>
                <a:gd name="T13" fmla="*/ 66 h 66"/>
                <a:gd name="T14" fmla="*/ 54 w 73"/>
                <a:gd name="T15" fmla="*/ 55 h 66"/>
                <a:gd name="T16" fmla="*/ 54 w 73"/>
                <a:gd name="T17" fmla="*/ 65 h 66"/>
                <a:gd name="T18" fmla="*/ 73 w 73"/>
                <a:gd name="T19" fmla="*/ 65 h 66"/>
                <a:gd name="T20" fmla="*/ 73 w 73"/>
                <a:gd name="T21" fmla="*/ 56 h 66"/>
                <a:gd name="T22" fmla="*/ 64 w 73"/>
                <a:gd name="T23" fmla="*/ 56 h 66"/>
                <a:gd name="T24" fmla="*/ 64 w 73"/>
                <a:gd name="T25" fmla="*/ 10 h 66"/>
                <a:gd name="T26" fmla="*/ 73 w 73"/>
                <a:gd name="T27" fmla="*/ 10 h 66"/>
                <a:gd name="T28" fmla="*/ 33 w 73"/>
                <a:gd name="T29" fmla="*/ 58 h 66"/>
                <a:gd name="T30" fmla="*/ 11 w 73"/>
                <a:gd name="T31" fmla="*/ 33 h 66"/>
                <a:gd name="T32" fmla="*/ 33 w 73"/>
                <a:gd name="T33" fmla="*/ 9 h 66"/>
                <a:gd name="T34" fmla="*/ 54 w 73"/>
                <a:gd name="T35" fmla="*/ 33 h 66"/>
                <a:gd name="T36" fmla="*/ 33 w 73"/>
                <a:gd name="T37" fmla="*/ 5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3" h="66">
                  <a:moveTo>
                    <a:pt x="73" y="10"/>
                  </a:moveTo>
                  <a:cubicBezTo>
                    <a:pt x="73" y="2"/>
                    <a:pt x="73" y="2"/>
                    <a:pt x="73" y="2"/>
                  </a:cubicBezTo>
                  <a:cubicBezTo>
                    <a:pt x="54" y="2"/>
                    <a:pt x="54" y="2"/>
                    <a:pt x="54" y="2"/>
                  </a:cubicBezTo>
                  <a:cubicBezTo>
                    <a:pt x="54" y="11"/>
                    <a:pt x="54" y="11"/>
                    <a:pt x="54" y="11"/>
                  </a:cubicBezTo>
                  <a:cubicBezTo>
                    <a:pt x="49" y="4"/>
                    <a:pt x="41" y="0"/>
                    <a:pt x="31" y="0"/>
                  </a:cubicBezTo>
                  <a:cubicBezTo>
                    <a:pt x="13" y="0"/>
                    <a:pt x="0" y="14"/>
                    <a:pt x="0" y="33"/>
                  </a:cubicBezTo>
                  <a:cubicBezTo>
                    <a:pt x="0" y="52"/>
                    <a:pt x="13" y="66"/>
                    <a:pt x="31" y="66"/>
                  </a:cubicBezTo>
                  <a:cubicBezTo>
                    <a:pt x="41" y="66"/>
                    <a:pt x="49" y="62"/>
                    <a:pt x="54" y="55"/>
                  </a:cubicBezTo>
                  <a:cubicBezTo>
                    <a:pt x="54" y="65"/>
                    <a:pt x="54" y="65"/>
                    <a:pt x="54" y="65"/>
                  </a:cubicBezTo>
                  <a:cubicBezTo>
                    <a:pt x="73" y="65"/>
                    <a:pt x="73" y="65"/>
                    <a:pt x="73" y="65"/>
                  </a:cubicBezTo>
                  <a:cubicBezTo>
                    <a:pt x="73" y="56"/>
                    <a:pt x="73" y="56"/>
                    <a:pt x="73" y="56"/>
                  </a:cubicBezTo>
                  <a:cubicBezTo>
                    <a:pt x="64" y="56"/>
                    <a:pt x="64" y="56"/>
                    <a:pt x="64" y="56"/>
                  </a:cubicBezTo>
                  <a:cubicBezTo>
                    <a:pt x="64" y="10"/>
                    <a:pt x="64" y="10"/>
                    <a:pt x="64" y="10"/>
                  </a:cubicBezTo>
                  <a:lnTo>
                    <a:pt x="73" y="10"/>
                  </a:lnTo>
                  <a:close/>
                  <a:moveTo>
                    <a:pt x="33" y="58"/>
                  </a:moveTo>
                  <a:cubicBezTo>
                    <a:pt x="20" y="58"/>
                    <a:pt x="11" y="47"/>
                    <a:pt x="11" y="33"/>
                  </a:cubicBezTo>
                  <a:cubicBezTo>
                    <a:pt x="11" y="19"/>
                    <a:pt x="20" y="9"/>
                    <a:pt x="33" y="9"/>
                  </a:cubicBezTo>
                  <a:cubicBezTo>
                    <a:pt x="46" y="9"/>
                    <a:pt x="54" y="19"/>
                    <a:pt x="54" y="33"/>
                  </a:cubicBezTo>
                  <a:cubicBezTo>
                    <a:pt x="54" y="47"/>
                    <a:pt x="46" y="58"/>
                    <a:pt x="33" y="5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36" name="Freeform 8">
              <a:extLst>
                <a:ext uri="{FF2B5EF4-FFF2-40B4-BE49-F238E27FC236}">
                  <a16:creationId xmlns:a16="http://schemas.microsoft.com/office/drawing/2014/main" id="{D644210C-71FB-46C2-BB06-3DAD03BC87A0}"/>
                </a:ext>
              </a:extLst>
            </p:cNvPr>
            <p:cNvSpPr>
              <a:spLocks noEditPoints="1"/>
            </p:cNvSpPr>
            <p:nvPr/>
          </p:nvSpPr>
          <p:spPr bwMode="auto">
            <a:xfrm>
              <a:off x="5608638" y="3111500"/>
              <a:ext cx="731838" cy="750888"/>
            </a:xfrm>
            <a:custGeom>
              <a:avLst/>
              <a:gdLst>
                <a:gd name="T0" fmla="*/ 65 w 65"/>
                <a:gd name="T1" fmla="*/ 32 h 66"/>
                <a:gd name="T2" fmla="*/ 33 w 65"/>
                <a:gd name="T3" fmla="*/ 0 h 66"/>
                <a:gd name="T4" fmla="*/ 0 w 65"/>
                <a:gd name="T5" fmla="*/ 33 h 66"/>
                <a:gd name="T6" fmla="*/ 33 w 65"/>
                <a:gd name="T7" fmla="*/ 66 h 66"/>
                <a:gd name="T8" fmla="*/ 63 w 65"/>
                <a:gd name="T9" fmla="*/ 48 h 66"/>
                <a:gd name="T10" fmla="*/ 53 w 65"/>
                <a:gd name="T11" fmla="*/ 48 h 66"/>
                <a:gd name="T12" fmla="*/ 34 w 65"/>
                <a:gd name="T13" fmla="*/ 58 h 66"/>
                <a:gd name="T14" fmla="*/ 11 w 65"/>
                <a:gd name="T15" fmla="*/ 37 h 66"/>
                <a:gd name="T16" fmla="*/ 65 w 65"/>
                <a:gd name="T17" fmla="*/ 37 h 66"/>
                <a:gd name="T18" fmla="*/ 65 w 65"/>
                <a:gd name="T19" fmla="*/ 32 h 66"/>
                <a:gd name="T20" fmla="*/ 11 w 65"/>
                <a:gd name="T21" fmla="*/ 28 h 66"/>
                <a:gd name="T22" fmla="*/ 33 w 65"/>
                <a:gd name="T23" fmla="*/ 8 h 66"/>
                <a:gd name="T24" fmla="*/ 55 w 65"/>
                <a:gd name="T25" fmla="*/ 28 h 66"/>
                <a:gd name="T26" fmla="*/ 11 w 65"/>
                <a:gd name="T27"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5" h="66">
                  <a:moveTo>
                    <a:pt x="65" y="32"/>
                  </a:moveTo>
                  <a:cubicBezTo>
                    <a:pt x="65" y="13"/>
                    <a:pt x="53" y="0"/>
                    <a:pt x="33" y="0"/>
                  </a:cubicBezTo>
                  <a:cubicBezTo>
                    <a:pt x="14" y="0"/>
                    <a:pt x="0" y="14"/>
                    <a:pt x="0" y="33"/>
                  </a:cubicBezTo>
                  <a:cubicBezTo>
                    <a:pt x="0" y="53"/>
                    <a:pt x="14" y="66"/>
                    <a:pt x="33" y="66"/>
                  </a:cubicBezTo>
                  <a:cubicBezTo>
                    <a:pt x="47" y="66"/>
                    <a:pt x="58" y="59"/>
                    <a:pt x="63" y="48"/>
                  </a:cubicBezTo>
                  <a:cubicBezTo>
                    <a:pt x="53" y="48"/>
                    <a:pt x="53" y="48"/>
                    <a:pt x="53" y="48"/>
                  </a:cubicBezTo>
                  <a:cubicBezTo>
                    <a:pt x="50" y="54"/>
                    <a:pt x="43" y="58"/>
                    <a:pt x="34" y="58"/>
                  </a:cubicBezTo>
                  <a:cubicBezTo>
                    <a:pt x="19" y="58"/>
                    <a:pt x="12" y="49"/>
                    <a:pt x="11" y="37"/>
                  </a:cubicBezTo>
                  <a:cubicBezTo>
                    <a:pt x="65" y="37"/>
                    <a:pt x="65" y="37"/>
                    <a:pt x="65" y="37"/>
                  </a:cubicBezTo>
                  <a:lnTo>
                    <a:pt x="65" y="32"/>
                  </a:lnTo>
                  <a:close/>
                  <a:moveTo>
                    <a:pt x="11" y="28"/>
                  </a:moveTo>
                  <a:cubicBezTo>
                    <a:pt x="12" y="17"/>
                    <a:pt x="20" y="8"/>
                    <a:pt x="33" y="8"/>
                  </a:cubicBezTo>
                  <a:cubicBezTo>
                    <a:pt x="47" y="8"/>
                    <a:pt x="54" y="18"/>
                    <a:pt x="55" y="28"/>
                  </a:cubicBezTo>
                  <a:lnTo>
                    <a:pt x="11"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37" name="Freeform 9">
              <a:extLst>
                <a:ext uri="{FF2B5EF4-FFF2-40B4-BE49-F238E27FC236}">
                  <a16:creationId xmlns:a16="http://schemas.microsoft.com/office/drawing/2014/main" id="{6BD464F9-CB86-4782-98A8-138D13B22E79}"/>
                </a:ext>
              </a:extLst>
            </p:cNvPr>
            <p:cNvSpPr>
              <a:spLocks/>
            </p:cNvSpPr>
            <p:nvPr/>
          </p:nvSpPr>
          <p:spPr bwMode="auto">
            <a:xfrm>
              <a:off x="7613650" y="2952750"/>
              <a:ext cx="360363" cy="898525"/>
            </a:xfrm>
            <a:custGeom>
              <a:avLst/>
              <a:gdLst>
                <a:gd name="T0" fmla="*/ 20 w 32"/>
                <a:gd name="T1" fmla="*/ 62 h 79"/>
                <a:gd name="T2" fmla="*/ 20 w 32"/>
                <a:gd name="T3" fmla="*/ 24 h 79"/>
                <a:gd name="T4" fmla="*/ 32 w 32"/>
                <a:gd name="T5" fmla="*/ 24 h 79"/>
                <a:gd name="T6" fmla="*/ 32 w 32"/>
                <a:gd name="T7" fmla="*/ 16 h 79"/>
                <a:gd name="T8" fmla="*/ 20 w 32"/>
                <a:gd name="T9" fmla="*/ 16 h 79"/>
                <a:gd name="T10" fmla="*/ 20 w 32"/>
                <a:gd name="T11" fmla="*/ 0 h 79"/>
                <a:gd name="T12" fmla="*/ 9 w 32"/>
                <a:gd name="T13" fmla="*/ 0 h 79"/>
                <a:gd name="T14" fmla="*/ 9 w 32"/>
                <a:gd name="T15" fmla="*/ 16 h 79"/>
                <a:gd name="T16" fmla="*/ 0 w 32"/>
                <a:gd name="T17" fmla="*/ 16 h 79"/>
                <a:gd name="T18" fmla="*/ 0 w 32"/>
                <a:gd name="T19" fmla="*/ 24 h 79"/>
                <a:gd name="T20" fmla="*/ 9 w 32"/>
                <a:gd name="T21" fmla="*/ 24 h 79"/>
                <a:gd name="T22" fmla="*/ 9 w 32"/>
                <a:gd name="T23" fmla="*/ 63 h 79"/>
                <a:gd name="T24" fmla="*/ 26 w 32"/>
                <a:gd name="T25" fmla="*/ 79 h 79"/>
                <a:gd name="T26" fmla="*/ 32 w 32"/>
                <a:gd name="T27" fmla="*/ 79 h 79"/>
                <a:gd name="T28" fmla="*/ 32 w 32"/>
                <a:gd name="T29" fmla="*/ 70 h 79"/>
                <a:gd name="T30" fmla="*/ 27 w 32"/>
                <a:gd name="T31" fmla="*/ 71 h 79"/>
                <a:gd name="T32" fmla="*/ 20 w 32"/>
                <a:gd name="T33" fmla="*/ 6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79">
                  <a:moveTo>
                    <a:pt x="20" y="62"/>
                  </a:moveTo>
                  <a:cubicBezTo>
                    <a:pt x="20" y="24"/>
                    <a:pt x="20" y="24"/>
                    <a:pt x="20" y="24"/>
                  </a:cubicBezTo>
                  <a:cubicBezTo>
                    <a:pt x="32" y="24"/>
                    <a:pt x="32" y="24"/>
                    <a:pt x="32" y="24"/>
                  </a:cubicBezTo>
                  <a:cubicBezTo>
                    <a:pt x="32" y="16"/>
                    <a:pt x="32" y="16"/>
                    <a:pt x="32" y="16"/>
                  </a:cubicBezTo>
                  <a:cubicBezTo>
                    <a:pt x="20" y="16"/>
                    <a:pt x="20" y="16"/>
                    <a:pt x="20" y="16"/>
                  </a:cubicBezTo>
                  <a:cubicBezTo>
                    <a:pt x="20" y="0"/>
                    <a:pt x="20" y="0"/>
                    <a:pt x="20" y="0"/>
                  </a:cubicBezTo>
                  <a:cubicBezTo>
                    <a:pt x="9" y="0"/>
                    <a:pt x="9" y="0"/>
                    <a:pt x="9" y="0"/>
                  </a:cubicBezTo>
                  <a:cubicBezTo>
                    <a:pt x="9" y="16"/>
                    <a:pt x="9" y="16"/>
                    <a:pt x="9" y="16"/>
                  </a:cubicBezTo>
                  <a:cubicBezTo>
                    <a:pt x="0" y="16"/>
                    <a:pt x="0" y="16"/>
                    <a:pt x="0" y="16"/>
                  </a:cubicBezTo>
                  <a:cubicBezTo>
                    <a:pt x="0" y="24"/>
                    <a:pt x="0" y="24"/>
                    <a:pt x="0" y="24"/>
                  </a:cubicBezTo>
                  <a:cubicBezTo>
                    <a:pt x="9" y="24"/>
                    <a:pt x="9" y="24"/>
                    <a:pt x="9" y="24"/>
                  </a:cubicBezTo>
                  <a:cubicBezTo>
                    <a:pt x="9" y="63"/>
                    <a:pt x="9" y="63"/>
                    <a:pt x="9" y="63"/>
                  </a:cubicBezTo>
                  <a:cubicBezTo>
                    <a:pt x="9" y="74"/>
                    <a:pt x="14" y="79"/>
                    <a:pt x="26" y="79"/>
                  </a:cubicBezTo>
                  <a:cubicBezTo>
                    <a:pt x="28" y="79"/>
                    <a:pt x="31" y="79"/>
                    <a:pt x="32" y="79"/>
                  </a:cubicBezTo>
                  <a:cubicBezTo>
                    <a:pt x="32" y="70"/>
                    <a:pt x="32" y="70"/>
                    <a:pt x="32" y="70"/>
                  </a:cubicBezTo>
                  <a:cubicBezTo>
                    <a:pt x="30" y="71"/>
                    <a:pt x="29" y="71"/>
                    <a:pt x="27" y="71"/>
                  </a:cubicBezTo>
                  <a:cubicBezTo>
                    <a:pt x="22" y="71"/>
                    <a:pt x="20" y="69"/>
                    <a:pt x="20" y="6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38" name="Freeform 10">
              <a:extLst>
                <a:ext uri="{FF2B5EF4-FFF2-40B4-BE49-F238E27FC236}">
                  <a16:creationId xmlns:a16="http://schemas.microsoft.com/office/drawing/2014/main" id="{4A8BDCE4-6FCC-47A7-9CDE-4AC06B36DA13}"/>
                </a:ext>
              </a:extLst>
            </p:cNvPr>
            <p:cNvSpPr>
              <a:spLocks/>
            </p:cNvSpPr>
            <p:nvPr/>
          </p:nvSpPr>
          <p:spPr bwMode="auto">
            <a:xfrm>
              <a:off x="7275513" y="2816225"/>
              <a:ext cx="338138" cy="1035050"/>
            </a:xfrm>
            <a:custGeom>
              <a:avLst/>
              <a:gdLst>
                <a:gd name="T0" fmla="*/ 24 w 30"/>
                <a:gd name="T1" fmla="*/ 91 h 91"/>
                <a:gd name="T2" fmla="*/ 30 w 30"/>
                <a:gd name="T3" fmla="*/ 91 h 91"/>
                <a:gd name="T4" fmla="*/ 30 w 30"/>
                <a:gd name="T5" fmla="*/ 82 h 91"/>
                <a:gd name="T6" fmla="*/ 26 w 30"/>
                <a:gd name="T7" fmla="*/ 83 h 91"/>
                <a:gd name="T8" fmla="*/ 19 w 30"/>
                <a:gd name="T9" fmla="*/ 74 h 91"/>
                <a:gd name="T10" fmla="*/ 19 w 30"/>
                <a:gd name="T11" fmla="*/ 0 h 91"/>
                <a:gd name="T12" fmla="*/ 0 w 30"/>
                <a:gd name="T13" fmla="*/ 0 h 91"/>
                <a:gd name="T14" fmla="*/ 0 w 30"/>
                <a:gd name="T15" fmla="*/ 8 h 91"/>
                <a:gd name="T16" fmla="*/ 9 w 30"/>
                <a:gd name="T17" fmla="*/ 8 h 91"/>
                <a:gd name="T18" fmla="*/ 9 w 30"/>
                <a:gd name="T19" fmla="*/ 74 h 91"/>
                <a:gd name="T20" fmla="*/ 24 w 30"/>
                <a:gd name="T21"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91">
                  <a:moveTo>
                    <a:pt x="24" y="91"/>
                  </a:moveTo>
                  <a:cubicBezTo>
                    <a:pt x="26" y="91"/>
                    <a:pt x="29" y="91"/>
                    <a:pt x="30" y="91"/>
                  </a:cubicBezTo>
                  <a:cubicBezTo>
                    <a:pt x="30" y="82"/>
                    <a:pt x="30" y="82"/>
                    <a:pt x="30" y="82"/>
                  </a:cubicBezTo>
                  <a:cubicBezTo>
                    <a:pt x="28" y="83"/>
                    <a:pt x="27" y="83"/>
                    <a:pt x="26" y="83"/>
                  </a:cubicBezTo>
                  <a:cubicBezTo>
                    <a:pt x="21" y="83"/>
                    <a:pt x="19" y="80"/>
                    <a:pt x="19" y="74"/>
                  </a:cubicBezTo>
                  <a:cubicBezTo>
                    <a:pt x="19" y="0"/>
                    <a:pt x="19" y="0"/>
                    <a:pt x="19" y="0"/>
                  </a:cubicBezTo>
                  <a:cubicBezTo>
                    <a:pt x="0" y="0"/>
                    <a:pt x="0" y="0"/>
                    <a:pt x="0" y="0"/>
                  </a:cubicBezTo>
                  <a:cubicBezTo>
                    <a:pt x="0" y="8"/>
                    <a:pt x="0" y="8"/>
                    <a:pt x="0" y="8"/>
                  </a:cubicBezTo>
                  <a:cubicBezTo>
                    <a:pt x="9" y="8"/>
                    <a:pt x="9" y="8"/>
                    <a:pt x="9" y="8"/>
                  </a:cubicBezTo>
                  <a:cubicBezTo>
                    <a:pt x="9" y="74"/>
                    <a:pt x="9" y="74"/>
                    <a:pt x="9" y="74"/>
                  </a:cubicBezTo>
                  <a:cubicBezTo>
                    <a:pt x="9" y="85"/>
                    <a:pt x="13" y="91"/>
                    <a:pt x="24" y="91"/>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39" name="Freeform 11">
              <a:extLst>
                <a:ext uri="{FF2B5EF4-FFF2-40B4-BE49-F238E27FC236}">
                  <a16:creationId xmlns:a16="http://schemas.microsoft.com/office/drawing/2014/main" id="{331AB147-689A-43A6-B970-E8CB2BE02D79}"/>
                </a:ext>
              </a:extLst>
            </p:cNvPr>
            <p:cNvSpPr>
              <a:spLocks/>
            </p:cNvSpPr>
            <p:nvPr/>
          </p:nvSpPr>
          <p:spPr bwMode="auto">
            <a:xfrm>
              <a:off x="3603625" y="2781300"/>
              <a:ext cx="911225" cy="1092200"/>
            </a:xfrm>
            <a:custGeom>
              <a:avLst/>
              <a:gdLst>
                <a:gd name="T0" fmla="*/ 28 w 81"/>
                <a:gd name="T1" fmla="*/ 65 h 96"/>
                <a:gd name="T2" fmla="*/ 41 w 81"/>
                <a:gd name="T3" fmla="*/ 74 h 96"/>
                <a:gd name="T4" fmla="*/ 52 w 81"/>
                <a:gd name="T5" fmla="*/ 68 h 96"/>
                <a:gd name="T6" fmla="*/ 36 w 81"/>
                <a:gd name="T7" fmla="*/ 59 h 96"/>
                <a:gd name="T8" fmla="*/ 12 w 81"/>
                <a:gd name="T9" fmla="*/ 50 h 96"/>
                <a:gd name="T10" fmla="*/ 1 w 81"/>
                <a:gd name="T11" fmla="*/ 29 h 96"/>
                <a:gd name="T12" fmla="*/ 39 w 81"/>
                <a:gd name="T13" fmla="*/ 0 h 96"/>
                <a:gd name="T14" fmla="*/ 78 w 81"/>
                <a:gd name="T15" fmla="*/ 29 h 96"/>
                <a:gd name="T16" fmla="*/ 51 w 81"/>
                <a:gd name="T17" fmla="*/ 29 h 96"/>
                <a:gd name="T18" fmla="*/ 39 w 81"/>
                <a:gd name="T19" fmla="*/ 21 h 96"/>
                <a:gd name="T20" fmla="*/ 30 w 81"/>
                <a:gd name="T21" fmla="*/ 27 h 96"/>
                <a:gd name="T22" fmla="*/ 43 w 81"/>
                <a:gd name="T23" fmla="*/ 35 h 96"/>
                <a:gd name="T24" fmla="*/ 69 w 81"/>
                <a:gd name="T25" fmla="*/ 43 h 96"/>
                <a:gd name="T26" fmla="*/ 81 w 81"/>
                <a:gd name="T27" fmla="*/ 65 h 96"/>
                <a:gd name="T28" fmla="*/ 40 w 81"/>
                <a:gd name="T29" fmla="*/ 96 h 96"/>
                <a:gd name="T30" fmla="*/ 0 w 81"/>
                <a:gd name="T31" fmla="*/ 65 h 96"/>
                <a:gd name="T32" fmla="*/ 28 w 81"/>
                <a:gd name="T33" fmla="*/ 6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 h="96">
                  <a:moveTo>
                    <a:pt x="28" y="65"/>
                  </a:moveTo>
                  <a:cubicBezTo>
                    <a:pt x="29" y="72"/>
                    <a:pt x="33" y="74"/>
                    <a:pt x="41" y="74"/>
                  </a:cubicBezTo>
                  <a:cubicBezTo>
                    <a:pt x="48" y="74"/>
                    <a:pt x="52" y="72"/>
                    <a:pt x="52" y="68"/>
                  </a:cubicBezTo>
                  <a:cubicBezTo>
                    <a:pt x="52" y="62"/>
                    <a:pt x="47" y="62"/>
                    <a:pt x="36" y="59"/>
                  </a:cubicBezTo>
                  <a:cubicBezTo>
                    <a:pt x="24" y="55"/>
                    <a:pt x="15" y="53"/>
                    <a:pt x="12" y="50"/>
                  </a:cubicBezTo>
                  <a:cubicBezTo>
                    <a:pt x="5" y="45"/>
                    <a:pt x="1" y="38"/>
                    <a:pt x="1" y="29"/>
                  </a:cubicBezTo>
                  <a:cubicBezTo>
                    <a:pt x="1" y="11"/>
                    <a:pt x="15" y="0"/>
                    <a:pt x="39" y="0"/>
                  </a:cubicBezTo>
                  <a:cubicBezTo>
                    <a:pt x="63" y="0"/>
                    <a:pt x="77" y="10"/>
                    <a:pt x="78" y="29"/>
                  </a:cubicBezTo>
                  <a:cubicBezTo>
                    <a:pt x="51" y="29"/>
                    <a:pt x="51" y="29"/>
                    <a:pt x="51" y="29"/>
                  </a:cubicBezTo>
                  <a:cubicBezTo>
                    <a:pt x="50" y="23"/>
                    <a:pt x="46" y="21"/>
                    <a:pt x="39" y="21"/>
                  </a:cubicBezTo>
                  <a:cubicBezTo>
                    <a:pt x="33" y="21"/>
                    <a:pt x="30" y="23"/>
                    <a:pt x="30" y="27"/>
                  </a:cubicBezTo>
                  <a:cubicBezTo>
                    <a:pt x="30" y="32"/>
                    <a:pt x="34" y="33"/>
                    <a:pt x="43" y="35"/>
                  </a:cubicBezTo>
                  <a:cubicBezTo>
                    <a:pt x="54" y="38"/>
                    <a:pt x="63" y="40"/>
                    <a:pt x="69" y="43"/>
                  </a:cubicBezTo>
                  <a:cubicBezTo>
                    <a:pt x="77" y="49"/>
                    <a:pt x="81" y="55"/>
                    <a:pt x="81" y="65"/>
                  </a:cubicBezTo>
                  <a:cubicBezTo>
                    <a:pt x="81" y="84"/>
                    <a:pt x="66" y="96"/>
                    <a:pt x="40" y="96"/>
                  </a:cubicBezTo>
                  <a:cubicBezTo>
                    <a:pt x="16" y="96"/>
                    <a:pt x="1" y="84"/>
                    <a:pt x="0" y="65"/>
                  </a:cubicBezTo>
                  <a:lnTo>
                    <a:pt x="28" y="65"/>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40" name="Freeform 12">
              <a:extLst>
                <a:ext uri="{FF2B5EF4-FFF2-40B4-BE49-F238E27FC236}">
                  <a16:creationId xmlns:a16="http://schemas.microsoft.com/office/drawing/2014/main" id="{AA8CC35E-627A-410D-9CC1-5DFD27072BFF}"/>
                </a:ext>
              </a:extLst>
            </p:cNvPr>
            <p:cNvSpPr>
              <a:spLocks/>
            </p:cNvSpPr>
            <p:nvPr/>
          </p:nvSpPr>
          <p:spPr bwMode="auto">
            <a:xfrm>
              <a:off x="1698625" y="2781300"/>
              <a:ext cx="1014413" cy="1092200"/>
            </a:xfrm>
            <a:custGeom>
              <a:avLst/>
              <a:gdLst>
                <a:gd name="T0" fmla="*/ 90 w 90"/>
                <a:gd name="T1" fmla="*/ 58 h 96"/>
                <a:gd name="T2" fmla="*/ 46 w 90"/>
                <a:gd name="T3" fmla="*/ 96 h 96"/>
                <a:gd name="T4" fmla="*/ 0 w 90"/>
                <a:gd name="T5" fmla="*/ 48 h 96"/>
                <a:gd name="T6" fmla="*/ 46 w 90"/>
                <a:gd name="T7" fmla="*/ 0 h 96"/>
                <a:gd name="T8" fmla="*/ 89 w 90"/>
                <a:gd name="T9" fmla="*/ 37 h 96"/>
                <a:gd name="T10" fmla="*/ 62 w 90"/>
                <a:gd name="T11" fmla="*/ 37 h 96"/>
                <a:gd name="T12" fmla="*/ 46 w 90"/>
                <a:gd name="T13" fmla="*/ 23 h 96"/>
                <a:gd name="T14" fmla="*/ 29 w 90"/>
                <a:gd name="T15" fmla="*/ 48 h 96"/>
                <a:gd name="T16" fmla="*/ 47 w 90"/>
                <a:gd name="T17" fmla="*/ 73 h 96"/>
                <a:gd name="T18" fmla="*/ 62 w 90"/>
                <a:gd name="T19" fmla="*/ 58 h 96"/>
                <a:gd name="T20" fmla="*/ 90 w 90"/>
                <a:gd name="T21" fmla="*/ 5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 h="96">
                  <a:moveTo>
                    <a:pt x="90" y="58"/>
                  </a:moveTo>
                  <a:cubicBezTo>
                    <a:pt x="88" y="82"/>
                    <a:pt x="72" y="96"/>
                    <a:pt x="46" y="96"/>
                  </a:cubicBezTo>
                  <a:cubicBezTo>
                    <a:pt x="17" y="96"/>
                    <a:pt x="0" y="78"/>
                    <a:pt x="0" y="48"/>
                  </a:cubicBezTo>
                  <a:cubicBezTo>
                    <a:pt x="0" y="18"/>
                    <a:pt x="17" y="0"/>
                    <a:pt x="46" y="0"/>
                  </a:cubicBezTo>
                  <a:cubicBezTo>
                    <a:pt x="72" y="0"/>
                    <a:pt x="88" y="13"/>
                    <a:pt x="89" y="37"/>
                  </a:cubicBezTo>
                  <a:cubicBezTo>
                    <a:pt x="62" y="37"/>
                    <a:pt x="62" y="37"/>
                    <a:pt x="62" y="37"/>
                  </a:cubicBezTo>
                  <a:cubicBezTo>
                    <a:pt x="61" y="28"/>
                    <a:pt x="55" y="23"/>
                    <a:pt x="46" y="23"/>
                  </a:cubicBezTo>
                  <a:cubicBezTo>
                    <a:pt x="35" y="23"/>
                    <a:pt x="29" y="31"/>
                    <a:pt x="29" y="48"/>
                  </a:cubicBezTo>
                  <a:cubicBezTo>
                    <a:pt x="29" y="65"/>
                    <a:pt x="35" y="73"/>
                    <a:pt x="47" y="73"/>
                  </a:cubicBezTo>
                  <a:cubicBezTo>
                    <a:pt x="56" y="73"/>
                    <a:pt x="61" y="68"/>
                    <a:pt x="62" y="58"/>
                  </a:cubicBezTo>
                  <a:lnTo>
                    <a:pt x="90" y="58"/>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41" name="Freeform 13">
              <a:extLst>
                <a:ext uri="{FF2B5EF4-FFF2-40B4-BE49-F238E27FC236}">
                  <a16:creationId xmlns:a16="http://schemas.microsoft.com/office/drawing/2014/main" id="{A6104163-5896-46B6-AC7E-D2E4D25EC2F7}"/>
                </a:ext>
              </a:extLst>
            </p:cNvPr>
            <p:cNvSpPr>
              <a:spLocks/>
            </p:cNvSpPr>
            <p:nvPr/>
          </p:nvSpPr>
          <p:spPr bwMode="auto">
            <a:xfrm>
              <a:off x="2644775" y="2816225"/>
              <a:ext cx="1014413" cy="1023938"/>
            </a:xfrm>
            <a:custGeom>
              <a:avLst/>
              <a:gdLst>
                <a:gd name="T0" fmla="*/ 0 w 639"/>
                <a:gd name="T1" fmla="*/ 0 h 645"/>
                <a:gd name="T2" fmla="*/ 206 w 639"/>
                <a:gd name="T3" fmla="*/ 0 h 645"/>
                <a:gd name="T4" fmla="*/ 320 w 639"/>
                <a:gd name="T5" fmla="*/ 415 h 645"/>
                <a:gd name="T6" fmla="*/ 433 w 639"/>
                <a:gd name="T7" fmla="*/ 0 h 645"/>
                <a:gd name="T8" fmla="*/ 639 w 639"/>
                <a:gd name="T9" fmla="*/ 0 h 645"/>
                <a:gd name="T10" fmla="*/ 419 w 639"/>
                <a:gd name="T11" fmla="*/ 645 h 645"/>
                <a:gd name="T12" fmla="*/ 213 w 639"/>
                <a:gd name="T13" fmla="*/ 645 h 645"/>
                <a:gd name="T14" fmla="*/ 0 w 639"/>
                <a:gd name="T15" fmla="*/ 0 h 6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9" h="645">
                  <a:moveTo>
                    <a:pt x="0" y="0"/>
                  </a:moveTo>
                  <a:lnTo>
                    <a:pt x="206" y="0"/>
                  </a:lnTo>
                  <a:lnTo>
                    <a:pt x="320" y="415"/>
                  </a:lnTo>
                  <a:lnTo>
                    <a:pt x="433" y="0"/>
                  </a:lnTo>
                  <a:lnTo>
                    <a:pt x="639" y="0"/>
                  </a:lnTo>
                  <a:lnTo>
                    <a:pt x="419" y="645"/>
                  </a:lnTo>
                  <a:lnTo>
                    <a:pt x="213" y="645"/>
                  </a:lnTo>
                  <a:lnTo>
                    <a:pt x="0" y="0"/>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42" name="Freeform 14">
              <a:extLst>
                <a:ext uri="{FF2B5EF4-FFF2-40B4-BE49-F238E27FC236}">
                  <a16:creationId xmlns:a16="http://schemas.microsoft.com/office/drawing/2014/main" id="{481FE757-1FA8-48AB-BF72-DF393E4A3A65}"/>
                </a:ext>
              </a:extLst>
            </p:cNvPr>
            <p:cNvSpPr>
              <a:spLocks/>
            </p:cNvSpPr>
            <p:nvPr/>
          </p:nvSpPr>
          <p:spPr bwMode="auto">
            <a:xfrm>
              <a:off x="279400" y="2781300"/>
              <a:ext cx="1295400" cy="1092200"/>
            </a:xfrm>
            <a:custGeom>
              <a:avLst/>
              <a:gdLst>
                <a:gd name="T0" fmla="*/ 4 w 115"/>
                <a:gd name="T1" fmla="*/ 42 h 96"/>
                <a:gd name="T2" fmla="*/ 0 w 115"/>
                <a:gd name="T3" fmla="*/ 33 h 96"/>
                <a:gd name="T4" fmla="*/ 4 w 115"/>
                <a:gd name="T5" fmla="*/ 23 h 96"/>
                <a:gd name="T6" fmla="*/ 22 w 115"/>
                <a:gd name="T7" fmla="*/ 4 h 96"/>
                <a:gd name="T8" fmla="*/ 32 w 115"/>
                <a:gd name="T9" fmla="*/ 0 h 96"/>
                <a:gd name="T10" fmla="*/ 42 w 115"/>
                <a:gd name="T11" fmla="*/ 4 h 96"/>
                <a:gd name="T12" fmla="*/ 58 w 115"/>
                <a:gd name="T13" fmla="*/ 20 h 96"/>
                <a:gd name="T14" fmla="*/ 73 w 115"/>
                <a:gd name="T15" fmla="*/ 4 h 96"/>
                <a:gd name="T16" fmla="*/ 83 w 115"/>
                <a:gd name="T17" fmla="*/ 0 h 96"/>
                <a:gd name="T18" fmla="*/ 93 w 115"/>
                <a:gd name="T19" fmla="*/ 4 h 96"/>
                <a:gd name="T20" fmla="*/ 111 w 115"/>
                <a:gd name="T21" fmla="*/ 23 h 96"/>
                <a:gd name="T22" fmla="*/ 115 w 115"/>
                <a:gd name="T23" fmla="*/ 33 h 96"/>
                <a:gd name="T24" fmla="*/ 111 w 115"/>
                <a:gd name="T25" fmla="*/ 42 h 96"/>
                <a:gd name="T26" fmla="*/ 58 w 115"/>
                <a:gd name="T27" fmla="*/ 96 h 96"/>
                <a:gd name="T28" fmla="*/ 57 w 115"/>
                <a:gd name="T29" fmla="*/ 96 h 96"/>
                <a:gd name="T30" fmla="*/ 4 w 115"/>
                <a:gd name="T31"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 h="96">
                  <a:moveTo>
                    <a:pt x="4" y="42"/>
                  </a:moveTo>
                  <a:cubicBezTo>
                    <a:pt x="1" y="40"/>
                    <a:pt x="0" y="36"/>
                    <a:pt x="0" y="33"/>
                  </a:cubicBezTo>
                  <a:cubicBezTo>
                    <a:pt x="0" y="29"/>
                    <a:pt x="1" y="25"/>
                    <a:pt x="4" y="23"/>
                  </a:cubicBezTo>
                  <a:cubicBezTo>
                    <a:pt x="22" y="4"/>
                    <a:pt x="22" y="4"/>
                    <a:pt x="22" y="4"/>
                  </a:cubicBezTo>
                  <a:cubicBezTo>
                    <a:pt x="25" y="1"/>
                    <a:pt x="29" y="0"/>
                    <a:pt x="32" y="0"/>
                  </a:cubicBezTo>
                  <a:cubicBezTo>
                    <a:pt x="36" y="0"/>
                    <a:pt x="39" y="1"/>
                    <a:pt x="42" y="4"/>
                  </a:cubicBezTo>
                  <a:cubicBezTo>
                    <a:pt x="58" y="20"/>
                    <a:pt x="58" y="20"/>
                    <a:pt x="58" y="20"/>
                  </a:cubicBezTo>
                  <a:cubicBezTo>
                    <a:pt x="73" y="4"/>
                    <a:pt x="73" y="4"/>
                    <a:pt x="73" y="4"/>
                  </a:cubicBezTo>
                  <a:cubicBezTo>
                    <a:pt x="76" y="1"/>
                    <a:pt x="79" y="0"/>
                    <a:pt x="83" y="0"/>
                  </a:cubicBezTo>
                  <a:cubicBezTo>
                    <a:pt x="87" y="0"/>
                    <a:pt x="90" y="1"/>
                    <a:pt x="93" y="4"/>
                  </a:cubicBezTo>
                  <a:cubicBezTo>
                    <a:pt x="111" y="23"/>
                    <a:pt x="111" y="23"/>
                    <a:pt x="111" y="23"/>
                  </a:cubicBezTo>
                  <a:cubicBezTo>
                    <a:pt x="114" y="25"/>
                    <a:pt x="115" y="29"/>
                    <a:pt x="115" y="33"/>
                  </a:cubicBezTo>
                  <a:cubicBezTo>
                    <a:pt x="115" y="36"/>
                    <a:pt x="114" y="40"/>
                    <a:pt x="111" y="42"/>
                  </a:cubicBezTo>
                  <a:cubicBezTo>
                    <a:pt x="58" y="96"/>
                    <a:pt x="58" y="96"/>
                    <a:pt x="58" y="96"/>
                  </a:cubicBezTo>
                  <a:cubicBezTo>
                    <a:pt x="57" y="96"/>
                    <a:pt x="57" y="96"/>
                    <a:pt x="57" y="96"/>
                  </a:cubicBezTo>
                  <a:lnTo>
                    <a:pt x="4" y="42"/>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grpSp>
    </p:spTree>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nternal Slide - Photo Right Larg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5702965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66" name="think-cell Slide" r:id="rId4" imgW="498" imgH="499" progId="TCLayout.ActiveDocument.1">
                  <p:embed/>
                </p:oleObj>
              </mc:Choice>
              <mc:Fallback>
                <p:oleObj name="think-cell Slide" r:id="rId4" imgW="498" imgH="499"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2" name="Picture Placeholder 5"/>
          <p:cNvSpPr>
            <a:spLocks noGrp="1"/>
          </p:cNvSpPr>
          <p:nvPr>
            <p:ph type="pic" sz="quarter" idx="13" hasCustomPrompt="1"/>
          </p:nvPr>
        </p:nvSpPr>
        <p:spPr>
          <a:xfrm>
            <a:off x="8351520" y="1554481"/>
            <a:ext cx="3840480" cy="5303519"/>
          </a:xfrm>
          <a:prstGeom prst="rect">
            <a:avLst/>
          </a:prstGeom>
          <a:solidFill>
            <a:schemeClr val="bg2"/>
          </a:solidFill>
        </p:spPr>
        <p:txBody>
          <a:bodyPr anchor="ctr"/>
          <a:lstStyle>
            <a:lvl1pPr algn="ctr">
              <a:defRPr sz="3200">
                <a:solidFill>
                  <a:schemeClr val="bg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stStyle>
          <a:p>
            <a:r>
              <a:rPr lang="en-US" dirty="0"/>
              <a:t>IMAGE</a:t>
            </a:r>
          </a:p>
        </p:txBody>
      </p:sp>
      <p:sp>
        <p:nvSpPr>
          <p:cNvPr id="55" name="Rectangle 54"/>
          <p:cNvSpPr/>
          <p:nvPr/>
        </p:nvSpPr>
        <p:spPr>
          <a:xfrm>
            <a:off x="0" y="1"/>
            <a:ext cx="12191996" cy="1554480"/>
          </a:xfrm>
          <a:prstGeom prst="rect">
            <a:avLst/>
          </a:prstGeom>
          <a:solidFill>
            <a:srgbClr val="064E69"/>
          </a:solidFill>
        </p:spPr>
        <p:txBody>
          <a:bodyPr wrap="square" lIns="548640" tIns="0" rIns="91440" bIns="0" anchor="ctr">
            <a:noAutofit/>
          </a:bodyPr>
          <a:lstStyle/>
          <a:p>
            <a:endParaRPr lang="en-US" sz="4000" b="1" dirty="0">
              <a:solidFill>
                <a:schemeClr val="bg1"/>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56" name="Rectangle 55"/>
          <p:cNvSpPr/>
          <p:nvPr/>
        </p:nvSpPr>
        <p:spPr>
          <a:xfrm>
            <a:off x="-1" y="1448246"/>
            <a:ext cx="12192127" cy="106731"/>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1" dirty="0">
              <a:latin typeface="Arial" panose="020B0604020202020204" pitchFamily="34" charset="0"/>
              <a:cs typeface="Arial" panose="020B0604020202020204" pitchFamily="34" charset="0"/>
              <a:sym typeface="Arial" panose="020B0604020202020204" pitchFamily="34" charset="0"/>
            </a:endParaRPr>
          </a:p>
        </p:txBody>
      </p:sp>
      <p:sp>
        <p:nvSpPr>
          <p:cNvPr id="57" name="Title 1"/>
          <p:cNvSpPr>
            <a:spLocks noGrp="1"/>
          </p:cNvSpPr>
          <p:nvPr>
            <p:ph type="title" hasCustomPrompt="1"/>
          </p:nvPr>
        </p:nvSpPr>
        <p:spPr>
          <a:xfrm>
            <a:off x="457200" y="296379"/>
            <a:ext cx="9688623" cy="476805"/>
          </a:xfrm>
          <a:prstGeom prst="rect">
            <a:avLst/>
          </a:prstGeom>
        </p:spPr>
        <p:txBody>
          <a:bodyPr tIns="0" bIns="0" anchor="t" anchorCtr="0"/>
          <a:lstStyle>
            <a:lvl1pPr algn="l">
              <a:defRPr sz="3000" b="1">
                <a:solidFill>
                  <a:schemeClr val="bg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stStyle>
          <a:p>
            <a:r>
              <a:rPr lang="en-US" dirty="0"/>
              <a:t>Title</a:t>
            </a:r>
          </a:p>
        </p:txBody>
      </p:sp>
      <p:sp>
        <p:nvSpPr>
          <p:cNvPr id="58" name="Text Placeholder 9"/>
          <p:cNvSpPr>
            <a:spLocks noGrp="1"/>
          </p:cNvSpPr>
          <p:nvPr>
            <p:ph type="body" sz="quarter" idx="11" hasCustomPrompt="1"/>
          </p:nvPr>
        </p:nvSpPr>
        <p:spPr>
          <a:xfrm>
            <a:off x="457200" y="860151"/>
            <a:ext cx="9688622" cy="423094"/>
          </a:xfrm>
          <a:prstGeom prst="rect">
            <a:avLst/>
          </a:prstGeom>
        </p:spPr>
        <p:txBody>
          <a:bodyPr anchor="ctr"/>
          <a:lstStyle>
            <a:lvl1pPr algn="l">
              <a:lnSpc>
                <a:spcPct val="90000"/>
              </a:lnSpc>
              <a:spcBef>
                <a:spcPts val="0"/>
              </a:spcBef>
              <a:defRPr sz="200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pPr lvl="0"/>
            <a:r>
              <a:rPr lang="en-US" dirty="0"/>
              <a:t>Subtitle</a:t>
            </a:r>
          </a:p>
        </p:txBody>
      </p:sp>
      <p:cxnSp>
        <p:nvCxnSpPr>
          <p:cNvPr id="59" name="Straight Connector 58"/>
          <p:cNvCxnSpPr/>
          <p:nvPr/>
        </p:nvCxnSpPr>
        <p:spPr>
          <a:xfrm>
            <a:off x="10363874" y="222724"/>
            <a:ext cx="0" cy="1032988"/>
          </a:xfrm>
          <a:prstGeom prst="line">
            <a:avLst/>
          </a:prstGeom>
          <a:ln w="15875" cmpd="sng">
            <a:solidFill>
              <a:schemeClr val="accent2">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63" name="TextBox 62"/>
          <p:cNvSpPr txBox="1">
            <a:spLocks/>
          </p:cNvSpPr>
          <p:nvPr/>
        </p:nvSpPr>
        <p:spPr>
          <a:xfrm>
            <a:off x="11008872" y="633221"/>
            <a:ext cx="224212" cy="176024"/>
          </a:xfrm>
          <a:custGeom>
            <a:avLst/>
            <a:gdLst/>
            <a:ahLst/>
            <a:cxnLst/>
            <a:rect l="l" t="t" r="r" b="b"/>
            <a:pathLst>
              <a:path w="486642" h="382152">
                <a:moveTo>
                  <a:pt x="150943" y="0"/>
                </a:moveTo>
                <a:cubicBezTo>
                  <a:pt x="191582" y="0"/>
                  <a:pt x="224490" y="12368"/>
                  <a:pt x="232082" y="39810"/>
                </a:cubicBezTo>
                <a:lnTo>
                  <a:pt x="232262" y="41192"/>
                </a:lnTo>
                <a:lnTo>
                  <a:pt x="244394" y="27828"/>
                </a:lnTo>
                <a:cubicBezTo>
                  <a:pt x="265912" y="9086"/>
                  <a:pt x="296328" y="0"/>
                  <a:pt x="331918" y="0"/>
                </a:cubicBezTo>
                <a:cubicBezTo>
                  <a:pt x="355140" y="0"/>
                  <a:pt x="375838" y="4038"/>
                  <a:pt x="390730" y="12620"/>
                </a:cubicBezTo>
                <a:lnTo>
                  <a:pt x="399550" y="19037"/>
                </a:lnTo>
                <a:lnTo>
                  <a:pt x="415123" y="9213"/>
                </a:lnTo>
                <a:cubicBezTo>
                  <a:pt x="421204" y="6846"/>
                  <a:pt x="427956" y="5553"/>
                  <a:pt x="435150" y="5553"/>
                </a:cubicBezTo>
                <a:cubicBezTo>
                  <a:pt x="464430" y="5553"/>
                  <a:pt x="486642" y="26250"/>
                  <a:pt x="486642" y="53511"/>
                </a:cubicBezTo>
                <a:cubicBezTo>
                  <a:pt x="486642" y="80772"/>
                  <a:pt x="464430" y="101974"/>
                  <a:pt x="435150" y="101974"/>
                </a:cubicBezTo>
                <a:cubicBezTo>
                  <a:pt x="420763" y="101974"/>
                  <a:pt x="408142" y="96674"/>
                  <a:pt x="399118" y="87965"/>
                </a:cubicBezTo>
                <a:lnTo>
                  <a:pt x="397141" y="85099"/>
                </a:lnTo>
                <a:lnTo>
                  <a:pt x="387023" y="90979"/>
                </a:lnTo>
                <a:cubicBezTo>
                  <a:pt x="381675" y="92887"/>
                  <a:pt x="375838" y="93897"/>
                  <a:pt x="369780" y="93897"/>
                </a:cubicBezTo>
                <a:cubicBezTo>
                  <a:pt x="355140" y="93897"/>
                  <a:pt x="342015" y="89354"/>
                  <a:pt x="335452" y="81781"/>
                </a:cubicBezTo>
                <a:cubicBezTo>
                  <a:pt x="350092" y="78247"/>
                  <a:pt x="359179" y="66132"/>
                  <a:pt x="359179" y="42910"/>
                </a:cubicBezTo>
                <a:cubicBezTo>
                  <a:pt x="359179" y="22717"/>
                  <a:pt x="350597" y="8077"/>
                  <a:pt x="331918" y="8077"/>
                </a:cubicBezTo>
                <a:cubicBezTo>
                  <a:pt x="308696" y="8077"/>
                  <a:pt x="300619" y="29784"/>
                  <a:pt x="300619" y="58054"/>
                </a:cubicBezTo>
                <a:lnTo>
                  <a:pt x="300619" y="132264"/>
                </a:lnTo>
                <a:lnTo>
                  <a:pt x="363217" y="132264"/>
                </a:lnTo>
                <a:lnTo>
                  <a:pt x="360693" y="144884"/>
                </a:lnTo>
                <a:lnTo>
                  <a:pt x="300619" y="144884"/>
                </a:lnTo>
                <a:lnTo>
                  <a:pt x="300619" y="327126"/>
                </a:lnTo>
                <a:cubicBezTo>
                  <a:pt x="300619" y="360445"/>
                  <a:pt x="312230" y="369027"/>
                  <a:pt x="339490" y="381142"/>
                </a:cubicBezTo>
                <a:lnTo>
                  <a:pt x="339490" y="382152"/>
                </a:lnTo>
                <a:lnTo>
                  <a:pt x="186529" y="382152"/>
                </a:lnTo>
                <a:lnTo>
                  <a:pt x="186529" y="381142"/>
                </a:lnTo>
                <a:cubicBezTo>
                  <a:pt x="208741" y="367007"/>
                  <a:pt x="210255" y="360445"/>
                  <a:pt x="210255" y="327126"/>
                </a:cubicBezTo>
                <a:lnTo>
                  <a:pt x="210255" y="144884"/>
                </a:lnTo>
                <a:lnTo>
                  <a:pt x="180976" y="144884"/>
                </a:lnTo>
                <a:lnTo>
                  <a:pt x="180976" y="139331"/>
                </a:lnTo>
                <a:lnTo>
                  <a:pt x="210255" y="128225"/>
                </a:lnTo>
                <a:lnTo>
                  <a:pt x="210255" y="113585"/>
                </a:lnTo>
                <a:lnTo>
                  <a:pt x="212504" y="87227"/>
                </a:lnTo>
                <a:lnTo>
                  <a:pt x="206048" y="90979"/>
                </a:lnTo>
                <a:cubicBezTo>
                  <a:pt x="200700" y="92887"/>
                  <a:pt x="194863" y="93897"/>
                  <a:pt x="188805" y="93897"/>
                </a:cubicBezTo>
                <a:cubicBezTo>
                  <a:pt x="174165" y="93897"/>
                  <a:pt x="161040" y="89354"/>
                  <a:pt x="154477" y="81781"/>
                </a:cubicBezTo>
                <a:cubicBezTo>
                  <a:pt x="169117" y="78247"/>
                  <a:pt x="178204" y="66132"/>
                  <a:pt x="178204" y="42910"/>
                </a:cubicBezTo>
                <a:cubicBezTo>
                  <a:pt x="178204" y="22717"/>
                  <a:pt x="169622" y="8077"/>
                  <a:pt x="150943" y="8077"/>
                </a:cubicBezTo>
                <a:cubicBezTo>
                  <a:pt x="127721" y="8077"/>
                  <a:pt x="119644" y="29784"/>
                  <a:pt x="119644" y="58054"/>
                </a:cubicBezTo>
                <a:lnTo>
                  <a:pt x="119644" y="132264"/>
                </a:lnTo>
                <a:lnTo>
                  <a:pt x="182242" y="132264"/>
                </a:lnTo>
                <a:lnTo>
                  <a:pt x="179718" y="144884"/>
                </a:lnTo>
                <a:lnTo>
                  <a:pt x="119644" y="144884"/>
                </a:lnTo>
                <a:lnTo>
                  <a:pt x="119644" y="327126"/>
                </a:lnTo>
                <a:cubicBezTo>
                  <a:pt x="119644" y="360445"/>
                  <a:pt x="131255" y="369027"/>
                  <a:pt x="158516" y="381142"/>
                </a:cubicBezTo>
                <a:lnTo>
                  <a:pt x="158516" y="382152"/>
                </a:lnTo>
                <a:lnTo>
                  <a:pt x="5554" y="382152"/>
                </a:lnTo>
                <a:lnTo>
                  <a:pt x="5554" y="381142"/>
                </a:lnTo>
                <a:cubicBezTo>
                  <a:pt x="27766" y="367007"/>
                  <a:pt x="29280" y="360445"/>
                  <a:pt x="29280" y="327126"/>
                </a:cubicBezTo>
                <a:lnTo>
                  <a:pt x="29280" y="144884"/>
                </a:lnTo>
                <a:lnTo>
                  <a:pt x="0" y="144884"/>
                </a:lnTo>
                <a:lnTo>
                  <a:pt x="0" y="139331"/>
                </a:lnTo>
                <a:lnTo>
                  <a:pt x="29280" y="128225"/>
                </a:lnTo>
                <a:lnTo>
                  <a:pt x="29280" y="113585"/>
                </a:lnTo>
                <a:cubicBezTo>
                  <a:pt x="29280" y="36347"/>
                  <a:pt x="79763" y="0"/>
                  <a:pt x="15094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4" name="TextBox 63"/>
          <p:cNvSpPr txBox="1">
            <a:spLocks/>
          </p:cNvSpPr>
          <p:nvPr/>
        </p:nvSpPr>
        <p:spPr>
          <a:xfrm>
            <a:off x="10828278" y="644150"/>
            <a:ext cx="167232" cy="16742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5" name="TextBox 64"/>
          <p:cNvSpPr txBox="1">
            <a:spLocks/>
          </p:cNvSpPr>
          <p:nvPr/>
        </p:nvSpPr>
        <p:spPr>
          <a:xfrm>
            <a:off x="11252333" y="691818"/>
            <a:ext cx="113038" cy="119752"/>
          </a:xfrm>
          <a:custGeom>
            <a:avLst/>
            <a:gdLst/>
            <a:ahLst/>
            <a:cxnLst/>
            <a:rect l="l" t="t" r="r" b="b"/>
            <a:pathLst>
              <a:path w="245345" h="259984">
                <a:moveTo>
                  <a:pt x="144885" y="0"/>
                </a:moveTo>
                <a:cubicBezTo>
                  <a:pt x="199406" y="0"/>
                  <a:pt x="240297" y="23726"/>
                  <a:pt x="240297" y="65122"/>
                </a:cubicBezTo>
                <a:cubicBezTo>
                  <a:pt x="240297" y="95411"/>
                  <a:pt x="217075" y="111061"/>
                  <a:pt x="192843" y="111061"/>
                </a:cubicBezTo>
                <a:cubicBezTo>
                  <a:pt x="166087" y="111061"/>
                  <a:pt x="150438" y="96421"/>
                  <a:pt x="148923" y="81781"/>
                </a:cubicBezTo>
                <a:cubicBezTo>
                  <a:pt x="151952" y="82791"/>
                  <a:pt x="155486" y="83296"/>
                  <a:pt x="158010" y="83296"/>
                </a:cubicBezTo>
                <a:cubicBezTo>
                  <a:pt x="176689" y="83296"/>
                  <a:pt x="184261" y="67646"/>
                  <a:pt x="184261" y="48463"/>
                </a:cubicBezTo>
                <a:cubicBezTo>
                  <a:pt x="184261" y="24231"/>
                  <a:pt x="171136" y="8582"/>
                  <a:pt x="145894" y="8582"/>
                </a:cubicBezTo>
                <a:cubicBezTo>
                  <a:pt x="110557" y="8582"/>
                  <a:pt x="93897" y="54016"/>
                  <a:pt x="93897" y="112575"/>
                </a:cubicBezTo>
                <a:cubicBezTo>
                  <a:pt x="93897" y="181737"/>
                  <a:pt x="124692" y="218589"/>
                  <a:pt x="171640" y="218589"/>
                </a:cubicBezTo>
                <a:cubicBezTo>
                  <a:pt x="200415" y="218589"/>
                  <a:pt x="226666" y="204958"/>
                  <a:pt x="242316" y="173659"/>
                </a:cubicBezTo>
                <a:lnTo>
                  <a:pt x="245345" y="175174"/>
                </a:lnTo>
                <a:cubicBezTo>
                  <a:pt x="231210" y="229190"/>
                  <a:pt x="185775" y="259984"/>
                  <a:pt x="129740" y="259984"/>
                </a:cubicBezTo>
                <a:cubicBezTo>
                  <a:pt x="60074" y="259984"/>
                  <a:pt x="0" y="213036"/>
                  <a:pt x="0" y="134788"/>
                </a:cubicBezTo>
                <a:cubicBezTo>
                  <a:pt x="0" y="49977"/>
                  <a:pt x="63608" y="0"/>
                  <a:pt x="144885"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6" name="TextBox 65"/>
          <p:cNvSpPr txBox="1">
            <a:spLocks/>
          </p:cNvSpPr>
          <p:nvPr/>
        </p:nvSpPr>
        <p:spPr>
          <a:xfrm>
            <a:off x="11375209" y="691818"/>
            <a:ext cx="116062" cy="119752"/>
          </a:xfrm>
          <a:custGeom>
            <a:avLst/>
            <a:gdLst/>
            <a:ahLst/>
            <a:cxnLst/>
            <a:rect l="l" t="t" r="r" b="b"/>
            <a:pathLst>
              <a:path w="251908" h="259984">
                <a:moveTo>
                  <a:pt x="132264" y="0"/>
                </a:moveTo>
                <a:cubicBezTo>
                  <a:pt x="213541" y="0"/>
                  <a:pt x="251908" y="51996"/>
                  <a:pt x="251908" y="118633"/>
                </a:cubicBezTo>
                <a:lnTo>
                  <a:pt x="91373" y="118633"/>
                </a:lnTo>
                <a:cubicBezTo>
                  <a:pt x="91373" y="181232"/>
                  <a:pt x="124187" y="218589"/>
                  <a:pt x="172650" y="218589"/>
                </a:cubicBezTo>
                <a:cubicBezTo>
                  <a:pt x="203444" y="218589"/>
                  <a:pt x="230200" y="204958"/>
                  <a:pt x="245850" y="173659"/>
                </a:cubicBezTo>
                <a:lnTo>
                  <a:pt x="249383" y="175174"/>
                </a:lnTo>
                <a:cubicBezTo>
                  <a:pt x="234744" y="229190"/>
                  <a:pt x="189309" y="259984"/>
                  <a:pt x="131759" y="259984"/>
                </a:cubicBezTo>
                <a:cubicBezTo>
                  <a:pt x="59569" y="259984"/>
                  <a:pt x="0" y="212531"/>
                  <a:pt x="0" y="130244"/>
                </a:cubicBezTo>
                <a:cubicBezTo>
                  <a:pt x="0" y="50987"/>
                  <a:pt x="60074" y="0"/>
                  <a:pt x="132264" y="0"/>
                </a:cubicBezTo>
                <a:close/>
                <a:moveTo>
                  <a:pt x="132264" y="8582"/>
                </a:moveTo>
                <a:cubicBezTo>
                  <a:pt x="106013" y="8582"/>
                  <a:pt x="92888" y="48463"/>
                  <a:pt x="91878" y="108032"/>
                </a:cubicBezTo>
                <a:lnTo>
                  <a:pt x="165078" y="108032"/>
                </a:lnTo>
                <a:cubicBezTo>
                  <a:pt x="165078" y="51492"/>
                  <a:pt x="161039" y="8582"/>
                  <a:pt x="132264" y="8582"/>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7" name="TextBox 66"/>
          <p:cNvSpPr txBox="1">
            <a:spLocks/>
          </p:cNvSpPr>
          <p:nvPr/>
        </p:nvSpPr>
        <p:spPr>
          <a:xfrm>
            <a:off x="11176798" y="694143"/>
            <a:ext cx="64892" cy="115102"/>
          </a:xfrm>
          <a:custGeom>
            <a:avLst/>
            <a:gdLst/>
            <a:ahLst/>
            <a:cxnLst/>
            <a:rect l="l" t="t" r="r" b="b"/>
            <a:pathLst>
              <a:path w="140846" h="249888">
                <a:moveTo>
                  <a:pt x="0" y="0"/>
                </a:moveTo>
                <a:lnTo>
                  <a:pt x="117119" y="0"/>
                </a:lnTo>
                <a:lnTo>
                  <a:pt x="117119" y="194862"/>
                </a:lnTo>
                <a:cubicBezTo>
                  <a:pt x="117119" y="228181"/>
                  <a:pt x="118633" y="234743"/>
                  <a:pt x="140846" y="248878"/>
                </a:cubicBezTo>
                <a:lnTo>
                  <a:pt x="140846" y="249888"/>
                </a:lnTo>
                <a:lnTo>
                  <a:pt x="3029" y="249888"/>
                </a:lnTo>
                <a:lnTo>
                  <a:pt x="3029" y="248878"/>
                </a:lnTo>
                <a:cubicBezTo>
                  <a:pt x="25241" y="234743"/>
                  <a:pt x="26755" y="228181"/>
                  <a:pt x="26755" y="194862"/>
                </a:cubicBezTo>
                <a:lnTo>
                  <a:pt x="26755" y="56035"/>
                </a:lnTo>
                <a:cubicBezTo>
                  <a:pt x="26755" y="21707"/>
                  <a:pt x="23726" y="14640"/>
                  <a:pt x="0" y="1009"/>
                </a:cubicBez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8" name="TextBox 67"/>
          <p:cNvSpPr txBox="1">
            <a:spLocks/>
          </p:cNvSpPr>
          <p:nvPr/>
        </p:nvSpPr>
        <p:spPr>
          <a:xfrm>
            <a:off x="11298619" y="842827"/>
            <a:ext cx="149090" cy="167421"/>
          </a:xfrm>
          <a:custGeom>
            <a:avLst/>
            <a:gdLst/>
            <a:ahLst/>
            <a:cxnLst/>
            <a:rect l="l" t="t" r="r" b="b"/>
            <a:pathLst>
              <a:path w="323593" h="363474">
                <a:moveTo>
                  <a:pt x="190319" y="0"/>
                </a:moveTo>
                <a:cubicBezTo>
                  <a:pt x="236258" y="0"/>
                  <a:pt x="260994" y="15145"/>
                  <a:pt x="277653" y="15145"/>
                </a:cubicBezTo>
                <a:cubicBezTo>
                  <a:pt x="291284" y="15145"/>
                  <a:pt x="299866" y="9087"/>
                  <a:pt x="310467" y="0"/>
                </a:cubicBezTo>
                <a:lnTo>
                  <a:pt x="314001" y="120149"/>
                </a:lnTo>
                <a:lnTo>
                  <a:pt x="312991" y="120149"/>
                </a:lnTo>
                <a:cubicBezTo>
                  <a:pt x="287750" y="56541"/>
                  <a:pt x="250393" y="11107"/>
                  <a:pt x="199910" y="11107"/>
                </a:cubicBezTo>
                <a:cubicBezTo>
                  <a:pt x="137312" y="11107"/>
                  <a:pt x="101974" y="80268"/>
                  <a:pt x="101974" y="164573"/>
                </a:cubicBezTo>
                <a:cubicBezTo>
                  <a:pt x="101974" y="260490"/>
                  <a:pt x="155486" y="315011"/>
                  <a:pt x="221113" y="315011"/>
                </a:cubicBezTo>
                <a:cubicBezTo>
                  <a:pt x="263014" y="315011"/>
                  <a:pt x="297846" y="300371"/>
                  <a:pt x="320564" y="252918"/>
                </a:cubicBezTo>
                <a:lnTo>
                  <a:pt x="323593" y="253927"/>
                </a:lnTo>
                <a:cubicBezTo>
                  <a:pt x="306428" y="321574"/>
                  <a:pt x="252412" y="363474"/>
                  <a:pt x="173660" y="363474"/>
                </a:cubicBezTo>
                <a:cubicBezTo>
                  <a:pt x="74209" y="363474"/>
                  <a:pt x="0" y="293304"/>
                  <a:pt x="0" y="186786"/>
                </a:cubicBezTo>
                <a:cubicBezTo>
                  <a:pt x="0" y="76229"/>
                  <a:pt x="85820" y="0"/>
                  <a:pt x="190319"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9" name="TextBox 68"/>
          <p:cNvSpPr txBox="1">
            <a:spLocks/>
          </p:cNvSpPr>
          <p:nvPr/>
        </p:nvSpPr>
        <p:spPr>
          <a:xfrm>
            <a:off x="11640919" y="842827"/>
            <a:ext cx="167232" cy="16742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0" name="TextBox 69"/>
          <p:cNvSpPr txBox="1">
            <a:spLocks/>
          </p:cNvSpPr>
          <p:nvPr/>
        </p:nvSpPr>
        <p:spPr>
          <a:xfrm>
            <a:off x="11457735" y="843060"/>
            <a:ext cx="172117" cy="164863"/>
          </a:xfrm>
          <a:custGeom>
            <a:avLst/>
            <a:gdLst/>
            <a:ahLst/>
            <a:cxnLst/>
            <a:rect l="l" t="t" r="r" b="b"/>
            <a:pathLst>
              <a:path w="373571" h="357921">
                <a:moveTo>
                  <a:pt x="17164" y="0"/>
                </a:moveTo>
                <a:cubicBezTo>
                  <a:pt x="24232" y="3534"/>
                  <a:pt x="35338" y="4544"/>
                  <a:pt x="52502" y="4544"/>
                </a:cubicBezTo>
                <a:lnTo>
                  <a:pt x="321069" y="4544"/>
                </a:lnTo>
                <a:cubicBezTo>
                  <a:pt x="338233" y="4544"/>
                  <a:pt x="349339" y="3534"/>
                  <a:pt x="356407" y="0"/>
                </a:cubicBezTo>
                <a:lnTo>
                  <a:pt x="373571" y="119644"/>
                </a:lnTo>
                <a:lnTo>
                  <a:pt x="372561" y="119644"/>
                </a:lnTo>
                <a:cubicBezTo>
                  <a:pt x="329651" y="50988"/>
                  <a:pt x="309963" y="17669"/>
                  <a:pt x="255946" y="17669"/>
                </a:cubicBezTo>
                <a:lnTo>
                  <a:pt x="234239" y="17669"/>
                </a:lnTo>
                <a:lnTo>
                  <a:pt x="234239" y="297847"/>
                </a:lnTo>
                <a:cubicBezTo>
                  <a:pt x="234239" y="331165"/>
                  <a:pt x="240802" y="342272"/>
                  <a:pt x="263014" y="356912"/>
                </a:cubicBezTo>
                <a:lnTo>
                  <a:pt x="263014" y="357921"/>
                </a:lnTo>
                <a:lnTo>
                  <a:pt x="110557" y="357921"/>
                </a:lnTo>
                <a:lnTo>
                  <a:pt x="110557" y="356912"/>
                </a:lnTo>
                <a:cubicBezTo>
                  <a:pt x="133274" y="342272"/>
                  <a:pt x="139332" y="331165"/>
                  <a:pt x="139332" y="297847"/>
                </a:cubicBezTo>
                <a:lnTo>
                  <a:pt x="139332" y="17669"/>
                </a:lnTo>
                <a:lnTo>
                  <a:pt x="117624" y="17669"/>
                </a:lnTo>
                <a:cubicBezTo>
                  <a:pt x="63608" y="17669"/>
                  <a:pt x="43920" y="50988"/>
                  <a:pt x="1010" y="119644"/>
                </a:cubicBezTo>
                <a:lnTo>
                  <a:pt x="0" y="119644"/>
                </a:lnTo>
                <a:lnTo>
                  <a:pt x="17164"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grpSp>
        <p:nvGrpSpPr>
          <p:cNvPr id="2" name="Group 1"/>
          <p:cNvGrpSpPr/>
          <p:nvPr/>
        </p:nvGrpSpPr>
        <p:grpSpPr>
          <a:xfrm>
            <a:off x="11001879" y="849615"/>
            <a:ext cx="276881" cy="61257"/>
            <a:chOff x="10999013" y="849614"/>
            <a:chExt cx="276809" cy="61257"/>
          </a:xfrm>
          <a:solidFill>
            <a:schemeClr val="accent3"/>
          </a:solidFill>
        </p:grpSpPr>
        <p:sp>
          <p:nvSpPr>
            <p:cNvPr id="71" name="TextBox 70"/>
            <p:cNvSpPr txBox="1">
              <a:spLocks/>
            </p:cNvSpPr>
            <p:nvPr/>
          </p:nvSpPr>
          <p:spPr>
            <a:xfrm>
              <a:off x="10999013" y="849614"/>
              <a:ext cx="60220" cy="61257"/>
            </a:xfrm>
            <a:custGeom>
              <a:avLst/>
              <a:gdLst/>
              <a:ahLst/>
              <a:cxnLst/>
              <a:rect l="l" t="t" r="r" b="b"/>
              <a:pathLst>
                <a:path w="130738" h="132991">
                  <a:moveTo>
                    <a:pt x="65709" y="0"/>
                  </a:moveTo>
                  <a:cubicBezTo>
                    <a:pt x="86122" y="0"/>
                    <a:pt x="102063" y="5891"/>
                    <a:pt x="113533" y="17673"/>
                  </a:cubicBezTo>
                  <a:cubicBezTo>
                    <a:pt x="125003" y="29455"/>
                    <a:pt x="130738" y="45715"/>
                    <a:pt x="130738" y="66451"/>
                  </a:cubicBezTo>
                  <a:cubicBezTo>
                    <a:pt x="130738" y="87129"/>
                    <a:pt x="124987" y="103389"/>
                    <a:pt x="113485" y="115230"/>
                  </a:cubicBezTo>
                  <a:cubicBezTo>
                    <a:pt x="101982" y="127071"/>
                    <a:pt x="85992" y="132991"/>
                    <a:pt x="65515" y="132991"/>
                  </a:cubicBezTo>
                  <a:cubicBezTo>
                    <a:pt x="44584" y="132991"/>
                    <a:pt x="28432" y="127174"/>
                    <a:pt x="17059" y="115539"/>
                  </a:cubicBezTo>
                  <a:cubicBezTo>
                    <a:pt x="5686" y="103904"/>
                    <a:pt x="0" y="87483"/>
                    <a:pt x="0" y="66275"/>
                  </a:cubicBezTo>
                  <a:cubicBezTo>
                    <a:pt x="0" y="45243"/>
                    <a:pt x="5702" y="28940"/>
                    <a:pt x="17107" y="17364"/>
                  </a:cubicBezTo>
                  <a:cubicBezTo>
                    <a:pt x="28513" y="5788"/>
                    <a:pt x="44713" y="0"/>
                    <a:pt x="65709" y="0"/>
                  </a:cubicBezTo>
                  <a:close/>
                  <a:moveTo>
                    <a:pt x="65709" y="13431"/>
                  </a:moveTo>
                  <a:cubicBezTo>
                    <a:pt x="49962" y="13431"/>
                    <a:pt x="37990" y="17953"/>
                    <a:pt x="29793" y="26996"/>
                  </a:cubicBezTo>
                  <a:cubicBezTo>
                    <a:pt x="21595" y="36038"/>
                    <a:pt x="17496" y="49190"/>
                    <a:pt x="17496" y="66451"/>
                  </a:cubicBezTo>
                  <a:cubicBezTo>
                    <a:pt x="17496" y="83948"/>
                    <a:pt x="21595" y="97218"/>
                    <a:pt x="29793" y="106261"/>
                  </a:cubicBezTo>
                  <a:cubicBezTo>
                    <a:pt x="37990" y="115303"/>
                    <a:pt x="49897" y="119825"/>
                    <a:pt x="65515" y="119825"/>
                  </a:cubicBezTo>
                  <a:cubicBezTo>
                    <a:pt x="81262" y="119825"/>
                    <a:pt x="93153" y="115318"/>
                    <a:pt x="101188" y="106305"/>
                  </a:cubicBezTo>
                  <a:cubicBezTo>
                    <a:pt x="109224" y="97291"/>
                    <a:pt x="113242" y="84007"/>
                    <a:pt x="113242" y="66451"/>
                  </a:cubicBezTo>
                  <a:cubicBezTo>
                    <a:pt x="113242" y="49073"/>
                    <a:pt x="109240" y="35891"/>
                    <a:pt x="101237" y="26907"/>
                  </a:cubicBezTo>
                  <a:cubicBezTo>
                    <a:pt x="93234" y="17923"/>
                    <a:pt x="81391" y="13431"/>
                    <a:pt x="65709" y="13431"/>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2" name="TextBox 71"/>
            <p:cNvSpPr txBox="1">
              <a:spLocks/>
            </p:cNvSpPr>
            <p:nvPr/>
          </p:nvSpPr>
          <p:spPr>
            <a:xfrm>
              <a:off x="11068225" y="850549"/>
              <a:ext cx="36490" cy="59507"/>
            </a:xfrm>
            <a:custGeom>
              <a:avLst/>
              <a:gdLst/>
              <a:ahLst/>
              <a:cxnLst/>
              <a:rect l="l" t="t" r="r" b="b"/>
              <a:pathLst>
                <a:path w="79221" h="129192">
                  <a:moveTo>
                    <a:pt x="0" y="0"/>
                  </a:moveTo>
                  <a:lnTo>
                    <a:pt x="79221" y="0"/>
                  </a:lnTo>
                  <a:lnTo>
                    <a:pt x="79221" y="13343"/>
                  </a:lnTo>
                  <a:lnTo>
                    <a:pt x="16525" y="13343"/>
                  </a:lnTo>
                  <a:lnTo>
                    <a:pt x="16525" y="60620"/>
                  </a:lnTo>
                  <a:lnTo>
                    <a:pt x="75430" y="60620"/>
                  </a:lnTo>
                  <a:lnTo>
                    <a:pt x="75430" y="73963"/>
                  </a:lnTo>
                  <a:lnTo>
                    <a:pt x="16525" y="73963"/>
                  </a:lnTo>
                  <a:lnTo>
                    <a:pt x="16525"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3" name="TextBox 72"/>
            <p:cNvSpPr txBox="1">
              <a:spLocks/>
            </p:cNvSpPr>
            <p:nvPr/>
          </p:nvSpPr>
          <p:spPr>
            <a:xfrm>
              <a:off x="11121455" y="850549"/>
              <a:ext cx="49071" cy="59507"/>
            </a:xfrm>
            <a:custGeom>
              <a:avLst/>
              <a:gdLst/>
              <a:ahLst/>
              <a:cxnLst/>
              <a:rect l="l" t="t" r="r" b="b"/>
              <a:pathLst>
                <a:path w="106535" h="129192">
                  <a:moveTo>
                    <a:pt x="0" y="0"/>
                  </a:moveTo>
                  <a:lnTo>
                    <a:pt x="106535" y="0"/>
                  </a:lnTo>
                  <a:lnTo>
                    <a:pt x="106535" y="13343"/>
                  </a:lnTo>
                  <a:lnTo>
                    <a:pt x="61530" y="13343"/>
                  </a:lnTo>
                  <a:lnTo>
                    <a:pt x="61530" y="129192"/>
                  </a:lnTo>
                  <a:lnTo>
                    <a:pt x="45005" y="129192"/>
                  </a:lnTo>
                  <a:lnTo>
                    <a:pt x="45005" y="13343"/>
                  </a:lnTo>
                  <a:lnTo>
                    <a:pt x="0" y="13343"/>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4" name="TextBox 73"/>
            <p:cNvSpPr txBox="1">
              <a:spLocks/>
            </p:cNvSpPr>
            <p:nvPr/>
          </p:nvSpPr>
          <p:spPr>
            <a:xfrm>
              <a:off x="11177909" y="850549"/>
              <a:ext cx="49698" cy="59507"/>
            </a:xfrm>
            <a:custGeom>
              <a:avLst/>
              <a:gdLst/>
              <a:ahLst/>
              <a:cxnLst/>
              <a:rect l="l" t="t" r="r" b="b"/>
              <a:pathLst>
                <a:path w="107896" h="129192">
                  <a:moveTo>
                    <a:pt x="0" y="0"/>
                  </a:moveTo>
                  <a:lnTo>
                    <a:pt x="16525" y="0"/>
                  </a:lnTo>
                  <a:lnTo>
                    <a:pt x="16525" y="54964"/>
                  </a:lnTo>
                  <a:lnTo>
                    <a:pt x="91371" y="54964"/>
                  </a:lnTo>
                  <a:lnTo>
                    <a:pt x="91371" y="0"/>
                  </a:lnTo>
                  <a:lnTo>
                    <a:pt x="107896" y="0"/>
                  </a:lnTo>
                  <a:lnTo>
                    <a:pt x="107896" y="129192"/>
                  </a:lnTo>
                  <a:lnTo>
                    <a:pt x="91371" y="129192"/>
                  </a:lnTo>
                  <a:lnTo>
                    <a:pt x="91371" y="68396"/>
                  </a:lnTo>
                  <a:lnTo>
                    <a:pt x="16525" y="68396"/>
                  </a:lnTo>
                  <a:lnTo>
                    <a:pt x="16525"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5" name="TextBox 74"/>
            <p:cNvSpPr txBox="1">
              <a:spLocks/>
            </p:cNvSpPr>
            <p:nvPr/>
          </p:nvSpPr>
          <p:spPr>
            <a:xfrm>
              <a:off x="11239332" y="850549"/>
              <a:ext cx="36490" cy="59507"/>
            </a:xfrm>
            <a:custGeom>
              <a:avLst/>
              <a:gdLst/>
              <a:ahLst/>
              <a:cxnLst/>
              <a:rect l="l" t="t" r="r" b="b"/>
              <a:pathLst>
                <a:path w="79221" h="129192">
                  <a:moveTo>
                    <a:pt x="0" y="0"/>
                  </a:moveTo>
                  <a:lnTo>
                    <a:pt x="79221" y="0"/>
                  </a:lnTo>
                  <a:lnTo>
                    <a:pt x="79221" y="13343"/>
                  </a:lnTo>
                  <a:lnTo>
                    <a:pt x="16525" y="13343"/>
                  </a:lnTo>
                  <a:lnTo>
                    <a:pt x="16525" y="54964"/>
                  </a:lnTo>
                  <a:lnTo>
                    <a:pt x="75430" y="54964"/>
                  </a:lnTo>
                  <a:lnTo>
                    <a:pt x="75430" y="68219"/>
                  </a:lnTo>
                  <a:lnTo>
                    <a:pt x="16525" y="68219"/>
                  </a:lnTo>
                  <a:lnTo>
                    <a:pt x="16525" y="115760"/>
                  </a:lnTo>
                  <a:lnTo>
                    <a:pt x="79221" y="115760"/>
                  </a:lnTo>
                  <a:lnTo>
                    <a:pt x="79221"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grpSp>
      <p:sp>
        <p:nvSpPr>
          <p:cNvPr id="62" name="Freeform 9"/>
          <p:cNvSpPr>
            <a:spLocks noEditPoints="1"/>
          </p:cNvSpPr>
          <p:nvPr/>
        </p:nvSpPr>
        <p:spPr bwMode="auto">
          <a:xfrm>
            <a:off x="10579888" y="371026"/>
            <a:ext cx="1417689" cy="783522"/>
          </a:xfrm>
          <a:custGeom>
            <a:avLst/>
            <a:gdLst>
              <a:gd name="T0" fmla="*/ 279 w 326"/>
              <a:gd name="T1" fmla="*/ 180 h 180"/>
              <a:gd name="T2" fmla="*/ 271 w 326"/>
              <a:gd name="T3" fmla="*/ 179 h 180"/>
              <a:gd name="T4" fmla="*/ 45 w 326"/>
              <a:gd name="T5" fmla="*/ 179 h 180"/>
              <a:gd name="T6" fmla="*/ 6 w 326"/>
              <a:gd name="T7" fmla="*/ 153 h 180"/>
              <a:gd name="T8" fmla="*/ 0 w 326"/>
              <a:gd name="T9" fmla="*/ 129 h 180"/>
              <a:gd name="T10" fmla="*/ 32 w 326"/>
              <a:gd name="T11" fmla="*/ 82 h 180"/>
              <a:gd name="T12" fmla="*/ 30 w 326"/>
              <a:gd name="T13" fmla="*/ 70 h 180"/>
              <a:gd name="T14" fmla="*/ 100 w 326"/>
              <a:gd name="T15" fmla="*/ 0 h 180"/>
              <a:gd name="T16" fmla="*/ 154 w 326"/>
              <a:gd name="T17" fmla="*/ 26 h 180"/>
              <a:gd name="T18" fmla="*/ 187 w 326"/>
              <a:gd name="T19" fmla="*/ 16 h 180"/>
              <a:gd name="T20" fmla="*/ 242 w 326"/>
              <a:gd name="T21" fmla="*/ 55 h 180"/>
              <a:gd name="T22" fmla="*/ 245 w 326"/>
              <a:gd name="T23" fmla="*/ 54 h 180"/>
              <a:gd name="T24" fmla="*/ 280 w 326"/>
              <a:gd name="T25" fmla="*/ 85 h 180"/>
              <a:gd name="T26" fmla="*/ 326 w 326"/>
              <a:gd name="T27" fmla="*/ 132 h 180"/>
              <a:gd name="T28" fmla="*/ 279 w 326"/>
              <a:gd name="T29" fmla="*/ 180 h 180"/>
              <a:gd name="T30" fmla="*/ 100 w 326"/>
              <a:gd name="T31" fmla="*/ 4 h 180"/>
              <a:gd name="T32" fmla="*/ 34 w 326"/>
              <a:gd name="T33" fmla="*/ 70 h 180"/>
              <a:gd name="T34" fmla="*/ 36 w 326"/>
              <a:gd name="T35" fmla="*/ 83 h 180"/>
              <a:gd name="T36" fmla="*/ 36 w 326"/>
              <a:gd name="T37" fmla="*/ 85 h 180"/>
              <a:gd name="T38" fmla="*/ 35 w 326"/>
              <a:gd name="T39" fmla="*/ 86 h 180"/>
              <a:gd name="T40" fmla="*/ 4 w 326"/>
              <a:gd name="T41" fmla="*/ 129 h 180"/>
              <a:gd name="T42" fmla="*/ 10 w 326"/>
              <a:gd name="T43" fmla="*/ 151 h 180"/>
              <a:gd name="T44" fmla="*/ 10 w 326"/>
              <a:gd name="T45" fmla="*/ 151 h 180"/>
              <a:gd name="T46" fmla="*/ 45 w 326"/>
              <a:gd name="T47" fmla="*/ 175 h 180"/>
              <a:gd name="T48" fmla="*/ 271 w 326"/>
              <a:gd name="T49" fmla="*/ 175 h 180"/>
              <a:gd name="T50" fmla="*/ 272 w 326"/>
              <a:gd name="T51" fmla="*/ 175 h 180"/>
              <a:gd name="T52" fmla="*/ 279 w 326"/>
              <a:gd name="T53" fmla="*/ 176 h 180"/>
              <a:gd name="T54" fmla="*/ 322 w 326"/>
              <a:gd name="T55" fmla="*/ 132 h 180"/>
              <a:gd name="T56" fmla="*/ 279 w 326"/>
              <a:gd name="T57" fmla="*/ 89 h 180"/>
              <a:gd name="T58" fmla="*/ 278 w 326"/>
              <a:gd name="T59" fmla="*/ 89 h 180"/>
              <a:gd name="T60" fmla="*/ 276 w 326"/>
              <a:gd name="T61" fmla="*/ 89 h 180"/>
              <a:gd name="T62" fmla="*/ 276 w 326"/>
              <a:gd name="T63" fmla="*/ 87 h 180"/>
              <a:gd name="T64" fmla="*/ 245 w 326"/>
              <a:gd name="T65" fmla="*/ 58 h 180"/>
              <a:gd name="T66" fmla="*/ 240 w 326"/>
              <a:gd name="T67" fmla="*/ 59 h 180"/>
              <a:gd name="T68" fmla="*/ 239 w 326"/>
              <a:gd name="T69" fmla="*/ 59 h 180"/>
              <a:gd name="T70" fmla="*/ 238 w 326"/>
              <a:gd name="T71" fmla="*/ 57 h 180"/>
              <a:gd name="T72" fmla="*/ 187 w 326"/>
              <a:gd name="T73" fmla="*/ 20 h 180"/>
              <a:gd name="T74" fmla="*/ 155 w 326"/>
              <a:gd name="T75" fmla="*/ 30 h 180"/>
              <a:gd name="T76" fmla="*/ 153 w 326"/>
              <a:gd name="T77" fmla="*/ 31 h 180"/>
              <a:gd name="T78" fmla="*/ 152 w 326"/>
              <a:gd name="T79" fmla="*/ 30 h 180"/>
              <a:gd name="T80" fmla="*/ 100 w 326"/>
              <a:gd name="T8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6" h="180">
                <a:moveTo>
                  <a:pt x="279" y="180"/>
                </a:moveTo>
                <a:cubicBezTo>
                  <a:pt x="276" y="180"/>
                  <a:pt x="274" y="179"/>
                  <a:pt x="271" y="179"/>
                </a:cubicBezTo>
                <a:cubicBezTo>
                  <a:pt x="45" y="179"/>
                  <a:pt x="45" y="179"/>
                  <a:pt x="45" y="179"/>
                </a:cubicBezTo>
                <a:cubicBezTo>
                  <a:pt x="28" y="179"/>
                  <a:pt x="13" y="169"/>
                  <a:pt x="6" y="153"/>
                </a:cubicBezTo>
                <a:cubicBezTo>
                  <a:pt x="2" y="146"/>
                  <a:pt x="0" y="137"/>
                  <a:pt x="0" y="129"/>
                </a:cubicBezTo>
                <a:cubicBezTo>
                  <a:pt x="0" y="109"/>
                  <a:pt x="13" y="90"/>
                  <a:pt x="32" y="82"/>
                </a:cubicBezTo>
                <a:cubicBezTo>
                  <a:pt x="31" y="78"/>
                  <a:pt x="30" y="74"/>
                  <a:pt x="30" y="70"/>
                </a:cubicBezTo>
                <a:cubicBezTo>
                  <a:pt x="30" y="32"/>
                  <a:pt x="62" y="0"/>
                  <a:pt x="100" y="0"/>
                </a:cubicBezTo>
                <a:cubicBezTo>
                  <a:pt x="121" y="0"/>
                  <a:pt x="141" y="10"/>
                  <a:pt x="154" y="26"/>
                </a:cubicBezTo>
                <a:cubicBezTo>
                  <a:pt x="164" y="19"/>
                  <a:pt x="175" y="16"/>
                  <a:pt x="187" y="16"/>
                </a:cubicBezTo>
                <a:cubicBezTo>
                  <a:pt x="212" y="16"/>
                  <a:pt x="233" y="31"/>
                  <a:pt x="242" y="55"/>
                </a:cubicBezTo>
                <a:cubicBezTo>
                  <a:pt x="243" y="54"/>
                  <a:pt x="244" y="54"/>
                  <a:pt x="245" y="54"/>
                </a:cubicBezTo>
                <a:cubicBezTo>
                  <a:pt x="263" y="54"/>
                  <a:pt x="278" y="68"/>
                  <a:pt x="280" y="85"/>
                </a:cubicBezTo>
                <a:cubicBezTo>
                  <a:pt x="305" y="86"/>
                  <a:pt x="326" y="107"/>
                  <a:pt x="326" y="132"/>
                </a:cubicBezTo>
                <a:cubicBezTo>
                  <a:pt x="326" y="158"/>
                  <a:pt x="305" y="180"/>
                  <a:pt x="279" y="180"/>
                </a:cubicBezTo>
                <a:close/>
                <a:moveTo>
                  <a:pt x="100" y="4"/>
                </a:moveTo>
                <a:cubicBezTo>
                  <a:pt x="64" y="4"/>
                  <a:pt x="34" y="34"/>
                  <a:pt x="34" y="70"/>
                </a:cubicBezTo>
                <a:cubicBezTo>
                  <a:pt x="34" y="75"/>
                  <a:pt x="35" y="79"/>
                  <a:pt x="36" y="83"/>
                </a:cubicBezTo>
                <a:cubicBezTo>
                  <a:pt x="36" y="85"/>
                  <a:pt x="36" y="85"/>
                  <a:pt x="36" y="85"/>
                </a:cubicBezTo>
                <a:cubicBezTo>
                  <a:pt x="35" y="86"/>
                  <a:pt x="35" y="86"/>
                  <a:pt x="35" y="86"/>
                </a:cubicBezTo>
                <a:cubicBezTo>
                  <a:pt x="16" y="92"/>
                  <a:pt x="4" y="110"/>
                  <a:pt x="4" y="129"/>
                </a:cubicBezTo>
                <a:cubicBezTo>
                  <a:pt x="4" y="137"/>
                  <a:pt x="6" y="144"/>
                  <a:pt x="10" y="151"/>
                </a:cubicBezTo>
                <a:cubicBezTo>
                  <a:pt x="10" y="151"/>
                  <a:pt x="10" y="151"/>
                  <a:pt x="10" y="151"/>
                </a:cubicBezTo>
                <a:cubicBezTo>
                  <a:pt x="16" y="166"/>
                  <a:pt x="30" y="175"/>
                  <a:pt x="45" y="175"/>
                </a:cubicBezTo>
                <a:cubicBezTo>
                  <a:pt x="271" y="175"/>
                  <a:pt x="271" y="175"/>
                  <a:pt x="271" y="175"/>
                </a:cubicBezTo>
                <a:cubicBezTo>
                  <a:pt x="272" y="175"/>
                  <a:pt x="272" y="175"/>
                  <a:pt x="272" y="175"/>
                </a:cubicBezTo>
                <a:cubicBezTo>
                  <a:pt x="274" y="175"/>
                  <a:pt x="276" y="176"/>
                  <a:pt x="279" y="176"/>
                </a:cubicBezTo>
                <a:cubicBezTo>
                  <a:pt x="303" y="176"/>
                  <a:pt x="322" y="156"/>
                  <a:pt x="322" y="132"/>
                </a:cubicBezTo>
                <a:cubicBezTo>
                  <a:pt x="322" y="109"/>
                  <a:pt x="303" y="89"/>
                  <a:pt x="279" y="89"/>
                </a:cubicBezTo>
                <a:cubicBezTo>
                  <a:pt x="279" y="89"/>
                  <a:pt x="278" y="89"/>
                  <a:pt x="278" y="89"/>
                </a:cubicBezTo>
                <a:cubicBezTo>
                  <a:pt x="276" y="89"/>
                  <a:pt x="276" y="89"/>
                  <a:pt x="276" y="89"/>
                </a:cubicBezTo>
                <a:cubicBezTo>
                  <a:pt x="276" y="87"/>
                  <a:pt x="276" y="87"/>
                  <a:pt x="276" y="87"/>
                </a:cubicBezTo>
                <a:cubicBezTo>
                  <a:pt x="275" y="71"/>
                  <a:pt x="261" y="58"/>
                  <a:pt x="245" y="58"/>
                </a:cubicBezTo>
                <a:cubicBezTo>
                  <a:pt x="243" y="58"/>
                  <a:pt x="242" y="59"/>
                  <a:pt x="240" y="59"/>
                </a:cubicBezTo>
                <a:cubicBezTo>
                  <a:pt x="239" y="59"/>
                  <a:pt x="239" y="59"/>
                  <a:pt x="239" y="59"/>
                </a:cubicBezTo>
                <a:cubicBezTo>
                  <a:pt x="238" y="57"/>
                  <a:pt x="238" y="57"/>
                  <a:pt x="238" y="57"/>
                </a:cubicBezTo>
                <a:cubicBezTo>
                  <a:pt x="231" y="35"/>
                  <a:pt x="210" y="20"/>
                  <a:pt x="187" y="20"/>
                </a:cubicBezTo>
                <a:cubicBezTo>
                  <a:pt x="175" y="20"/>
                  <a:pt x="164" y="23"/>
                  <a:pt x="155" y="30"/>
                </a:cubicBezTo>
                <a:cubicBezTo>
                  <a:pt x="153" y="31"/>
                  <a:pt x="153" y="31"/>
                  <a:pt x="153" y="31"/>
                </a:cubicBezTo>
                <a:cubicBezTo>
                  <a:pt x="152" y="30"/>
                  <a:pt x="152" y="30"/>
                  <a:pt x="152" y="30"/>
                </a:cubicBezTo>
                <a:cubicBezTo>
                  <a:pt x="139" y="14"/>
                  <a:pt x="121" y="4"/>
                  <a:pt x="100" y="4"/>
                </a:cubicBezTo>
                <a:close/>
              </a:path>
            </a:pathLst>
          </a:custGeom>
          <a:solidFill>
            <a:srgbClr val="34697F"/>
          </a:solidFill>
          <a:ln>
            <a:noFill/>
          </a:ln>
          <a:extLst/>
        </p:spPr>
        <p:txBody>
          <a:bodyPr vert="horz" wrap="square" lIns="91440" tIns="45720" rIns="91440" bIns="45720" numCol="1" anchor="t" anchorCtr="0" compatLnSpc="1">
            <a:prstTxWarp prst="textNoShape">
              <a:avLst/>
            </a:prstTxWarp>
          </a:bodyPr>
          <a:lstStyle/>
          <a:p>
            <a:endParaRPr lang="en-US" sz="1800">
              <a:latin typeface="Arial" panose="020B0604020202020204" pitchFamily="34" charset="0"/>
              <a:cs typeface="Arial" panose="020B0604020202020204" pitchFamily="34" charset="0"/>
              <a:sym typeface="Arial" panose="020B0604020202020204" pitchFamily="34" charset="0"/>
            </a:endParaRPr>
          </a:p>
        </p:txBody>
      </p:sp>
      <p:sp>
        <p:nvSpPr>
          <p:cNvPr id="23" name="Content Placeholder 8"/>
          <p:cNvSpPr txBox="1">
            <a:spLocks/>
          </p:cNvSpPr>
          <p:nvPr userDrawn="1"/>
        </p:nvSpPr>
        <p:spPr>
          <a:xfrm>
            <a:off x="11104408" y="6418626"/>
            <a:ext cx="734493" cy="228600"/>
          </a:xfrm>
          <a:prstGeom prst="rect">
            <a:avLst/>
          </a:prstGeom>
        </p:spPr>
        <p:txBody>
          <a:bodyPr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r>
              <a:rPr lang="en-US" sz="1000" dirty="0">
                <a:latin typeface="Arial" panose="020B0604020202020204" pitchFamily="34" charset="0"/>
                <a:ea typeface="Open Sans" panose="020B0606030504020204" pitchFamily="34" charset="0"/>
                <a:cs typeface="Arial" panose="020B0604020202020204" pitchFamily="34" charset="0"/>
                <a:sym typeface="Arial" panose="020B0604020202020204" pitchFamily="34" charset="0"/>
              </a:rPr>
              <a:t> </a:t>
            </a:r>
            <a:fld id="{38743595-4496-5147-A886-7D133864DF76}" type="slidenum">
              <a:rPr lang="en-US" sz="1000" smtClean="0">
                <a:solidFill>
                  <a:srgbClr val="3F3F3F"/>
                </a:solidFill>
                <a:latin typeface="Arial" panose="020B0604020202020204" pitchFamily="34" charset="0"/>
                <a:ea typeface="Open Sans" panose="020B0606030504020204" pitchFamily="34" charset="0"/>
                <a:cs typeface="Arial" panose="020B0604020202020204" pitchFamily="34" charset="0"/>
                <a:sym typeface="Arial" panose="020B0604020202020204" pitchFamily="34" charset="0"/>
              </a:rPr>
              <a:pPr algn="r"/>
              <a:t>‹#›</a:t>
            </a:fld>
            <a:endParaRPr lang="en-US" sz="1000" dirty="0">
              <a:latin typeface="Arial" panose="020B0604020202020204" pitchFamily="34" charset="0"/>
              <a:ea typeface="Open Sans" panose="020B0606030504020204" pitchFamily="34" charset="0"/>
              <a:cs typeface="Arial" panose="020B0604020202020204" pitchFamily="34" charset="0"/>
              <a:sym typeface="Arial" panose="020B0604020202020204" pitchFamily="34" charset="0"/>
            </a:endParaRPr>
          </a:p>
        </p:txBody>
      </p:sp>
      <p:sp>
        <p:nvSpPr>
          <p:cNvPr id="24" name="MSIPCMContentMarking" descr="{&quot;HashCode&quot;:-356254672,&quot;Placement&quot;:&quot;Footer&quot;}">
            <a:extLst>
              <a:ext uri="{FF2B5EF4-FFF2-40B4-BE49-F238E27FC236}">
                <a16:creationId xmlns:a16="http://schemas.microsoft.com/office/drawing/2014/main" id="{B869DC3D-CEDB-48B8-8C95-B8965AA1143A}"/>
              </a:ext>
            </a:extLst>
          </p:cNvPr>
          <p:cNvSpPr txBox="1"/>
          <p:nvPr userDrawn="1"/>
        </p:nvSpPr>
        <p:spPr>
          <a:xfrm>
            <a:off x="10717460" y="6413372"/>
            <a:ext cx="709344" cy="228163"/>
          </a:xfrm>
          <a:prstGeom prst="rect">
            <a:avLst/>
          </a:prstGeom>
          <a:noFill/>
        </p:spPr>
        <p:txBody>
          <a:bodyPr vert="horz" wrap="square" lIns="0" tIns="0" rIns="0" bIns="0" rtlCol="0" anchor="ctr" anchorCtr="1">
            <a:noAutofit/>
          </a:bodyPr>
          <a:lstStyle/>
          <a:p>
            <a:pPr algn="l" defTabSz="456758" fontAlgn="base">
              <a:spcBef>
                <a:spcPts val="0"/>
              </a:spcBef>
              <a:spcAft>
                <a:spcPts val="0"/>
              </a:spcAft>
            </a:pPr>
            <a:r>
              <a:rPr lang="en-US" sz="800">
                <a:solidFill>
                  <a:srgbClr val="414141"/>
                </a:solidFill>
                <a:latin typeface="Arial" panose="020B0604020202020204" pitchFamily="34" charset="0"/>
                <a:cs typeface="Arial" panose="020B0604020202020204" pitchFamily="34" charset="0"/>
                <a:sym typeface="Arial" panose="020B0604020202020204" pitchFamily="34" charset="0"/>
              </a:rPr>
              <a:t>Proprietary</a:t>
            </a:r>
            <a:endParaRPr lang="en-US" sz="800" dirty="0" err="1">
              <a:solidFill>
                <a:srgbClr val="414141"/>
              </a:solidFill>
              <a:latin typeface="Arial" panose="020B0604020202020204" pitchFamily="34" charset="0"/>
              <a:cs typeface="Arial" panose="020B0604020202020204" pitchFamily="34" charset="0"/>
              <a:sym typeface="Arial" panose="020B0604020202020204" pitchFamily="34" charset="0"/>
            </a:endParaRPr>
          </a:p>
        </p:txBody>
      </p:sp>
      <p:sp>
        <p:nvSpPr>
          <p:cNvPr id="25" name="Rectangle 24"/>
          <p:cNvSpPr/>
          <p:nvPr userDrawn="1"/>
        </p:nvSpPr>
        <p:spPr>
          <a:xfrm>
            <a:off x="8260080" y="1554479"/>
            <a:ext cx="91440" cy="5303521"/>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1" dirty="0">
              <a:latin typeface="Arial" panose="020B0604020202020204" pitchFamily="34" charset="0"/>
              <a:cs typeface="Arial" panose="020B0604020202020204" pitchFamily="34" charset="0"/>
              <a:sym typeface="Arial" panose="020B0604020202020204" pitchFamily="34" charset="0"/>
            </a:endParaRPr>
          </a:p>
        </p:txBody>
      </p:sp>
      <p:sp>
        <p:nvSpPr>
          <p:cNvPr id="26" name="Text Placeholder 4"/>
          <p:cNvSpPr>
            <a:spLocks noGrp="1"/>
          </p:cNvSpPr>
          <p:nvPr>
            <p:ph type="body" sz="quarter" idx="12" hasCustomPrompt="1"/>
          </p:nvPr>
        </p:nvSpPr>
        <p:spPr>
          <a:xfrm>
            <a:off x="457201" y="2011680"/>
            <a:ext cx="7406640" cy="4162001"/>
          </a:xfrm>
          <a:prstGeom prst="rect">
            <a:avLst/>
          </a:prstGeo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lvl="0"/>
            <a:r>
              <a:rPr lang="en-US" dirty="0"/>
              <a:t>Body text</a:t>
            </a:r>
          </a:p>
        </p:txBody>
      </p:sp>
    </p:spTree>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Vision to action">
    <p:bg>
      <p:bgPr>
        <a:solidFill>
          <a:srgbClr val="064E69"/>
        </a:solidFill>
        <a:effectLst/>
      </p:bgPr>
    </p:bg>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userDrawn="1">
            <p:custDataLst>
              <p:tags r:id="rId2"/>
            </p:custDataLst>
            <p:extLst>
              <p:ext uri="{D42A27DB-BD31-4B8C-83A1-F6EECF244321}">
                <p14:modId xmlns:p14="http://schemas.microsoft.com/office/powerpoint/2010/main" val="37384445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90" name="think-cell Slide" r:id="rId4" imgW="498" imgH="499" progId="TCLayout.ActiveDocument.1">
                  <p:embed/>
                </p:oleObj>
              </mc:Choice>
              <mc:Fallback>
                <p:oleObj name="think-cell Slide" r:id="rId4" imgW="498" imgH="499" progId="TCLayout.ActiveDocument.1">
                  <p:embed/>
                  <p:pic>
                    <p:nvPicPr>
                      <p:cNvPr id="26" name="Object 25"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7" name="Rectangle 26"/>
          <p:cNvSpPr/>
          <p:nvPr userDrawn="1"/>
        </p:nvSpPr>
        <p:spPr>
          <a:xfrm>
            <a:off x="0" y="4732020"/>
            <a:ext cx="12192000" cy="2125980"/>
          </a:xfrm>
          <a:prstGeom prst="rect">
            <a:avLst/>
          </a:prstGeom>
          <a:gradFill flip="none" rotWithShape="1">
            <a:gsLst>
              <a:gs pos="67000">
                <a:schemeClr val="bg1"/>
              </a:gs>
              <a:gs pos="100000">
                <a:schemeClr val="bg1"/>
              </a:gs>
              <a:gs pos="55000">
                <a:schemeClr val="accent2"/>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Arial" panose="020B0604020202020204" pitchFamily="34" charset="0"/>
              <a:cs typeface="Arial" panose="020B0604020202020204" pitchFamily="34" charset="0"/>
            </a:endParaRPr>
          </a:p>
        </p:txBody>
      </p:sp>
      <p:sp>
        <p:nvSpPr>
          <p:cNvPr id="28" name="Rectangle 27"/>
          <p:cNvSpPr/>
          <p:nvPr userDrawn="1"/>
        </p:nvSpPr>
        <p:spPr>
          <a:xfrm>
            <a:off x="1589" y="0"/>
            <a:ext cx="12188825" cy="47320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Arial" panose="020B0604020202020204" pitchFamily="34" charset="0"/>
              <a:cs typeface="Arial" panose="020B0604020202020204" pitchFamily="34" charset="0"/>
            </a:endParaRPr>
          </a:p>
        </p:txBody>
      </p:sp>
      <p:pic>
        <p:nvPicPr>
          <p:cNvPr id="29" name="Picture 2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a:off x="1588" y="0"/>
            <a:ext cx="6126479" cy="4732020"/>
          </a:xfrm>
          <a:prstGeom prst="rect">
            <a:avLst/>
          </a:prstGeom>
        </p:spPr>
      </p:pic>
      <p:sp>
        <p:nvSpPr>
          <p:cNvPr id="30" name="Rectangle 29"/>
          <p:cNvSpPr/>
          <p:nvPr userDrawn="1"/>
        </p:nvSpPr>
        <p:spPr>
          <a:xfrm flipH="1">
            <a:off x="6015106" y="1"/>
            <a:ext cx="665217" cy="473202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solidFill>
                <a:schemeClr val="bg2">
                  <a:lumMod val="40000"/>
                  <a:lumOff val="60000"/>
                </a:schemeClr>
              </a:solidFill>
              <a:latin typeface="Arial" panose="020B0604020202020204" pitchFamily="34" charset="0"/>
              <a:cs typeface="Arial" panose="020B0604020202020204" pitchFamily="34" charset="0"/>
            </a:endParaRPr>
          </a:p>
        </p:txBody>
      </p:sp>
      <p:sp>
        <p:nvSpPr>
          <p:cNvPr id="31" name="Title 2"/>
          <p:cNvSpPr txBox="1">
            <a:spLocks/>
          </p:cNvSpPr>
          <p:nvPr userDrawn="1"/>
        </p:nvSpPr>
        <p:spPr>
          <a:xfrm>
            <a:off x="7901547" y="3658243"/>
            <a:ext cx="3949108" cy="727131"/>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2800" b="0" i="0" kern="1200">
                <a:solidFill>
                  <a:schemeClr val="accent2"/>
                </a:solidFill>
                <a:latin typeface="+mj-lt"/>
                <a:ea typeface="Open Sans" panose="020B0606030504020204" pitchFamily="34" charset="0"/>
                <a:cs typeface="Open Sans" panose="020B0606030504020204" pitchFamily="34" charset="0"/>
              </a:defRPr>
            </a:lvl1pPr>
          </a:lstStyle>
          <a:p>
            <a:r>
              <a:rPr lang="en-US" sz="5400" b="1" dirty="0">
                <a:solidFill>
                  <a:srgbClr val="00859B"/>
                </a:solidFill>
                <a:latin typeface="Arial" panose="020B0604020202020204" pitchFamily="34" charset="0"/>
                <a:ea typeface="Domaine Display" charset="0"/>
                <a:cs typeface="Arial" panose="020B0604020202020204" pitchFamily="34" charset="0"/>
              </a:rPr>
              <a:t>into action.</a:t>
            </a:r>
          </a:p>
        </p:txBody>
      </p:sp>
      <p:sp>
        <p:nvSpPr>
          <p:cNvPr id="32" name="Title 1"/>
          <p:cNvSpPr txBox="1">
            <a:spLocks/>
          </p:cNvSpPr>
          <p:nvPr userDrawn="1"/>
        </p:nvSpPr>
        <p:spPr>
          <a:xfrm>
            <a:off x="5061285" y="2489624"/>
            <a:ext cx="5205181" cy="1770821"/>
          </a:xfrm>
          <a:prstGeom prst="rect">
            <a:avLst/>
          </a:prstGeom>
        </p:spPr>
        <p:txBody>
          <a:bodyPr vert="horz" lIns="0" tIns="0" rIns="0" bIns="0" rtlCol="0" anchor="ctr">
            <a:noAutofit/>
          </a:bodyPr>
          <a:lstStyle>
            <a:lvl1pPr algn="r" defTabSz="914400" rtl="0" eaLnBrk="1" latinLnBrk="0" hangingPunct="1">
              <a:lnSpc>
                <a:spcPct val="80000"/>
              </a:lnSpc>
              <a:spcBef>
                <a:spcPct val="0"/>
              </a:spcBef>
              <a:buNone/>
              <a:defRPr sz="7200" b="0" i="0" kern="1200">
                <a:solidFill>
                  <a:schemeClr val="bg1"/>
                </a:solidFill>
                <a:latin typeface="Domaine Display Bold" panose="020A0803080505060203" pitchFamily="18" charset="0"/>
                <a:ea typeface="Open Sans" panose="020B0606030504020204" pitchFamily="34" charset="0"/>
                <a:cs typeface="Domaine Display Bold" panose="020A0803080505060203" pitchFamily="18" charset="0"/>
              </a:defRPr>
            </a:lvl1pPr>
          </a:lstStyle>
          <a:p>
            <a:pPr algn="l">
              <a:lnSpc>
                <a:spcPct val="90000"/>
              </a:lnSpc>
            </a:pPr>
            <a:r>
              <a:rPr lang="en-US" sz="5400" b="1" dirty="0">
                <a:solidFill>
                  <a:schemeClr val="accent2"/>
                </a:solidFill>
                <a:latin typeface="Arial" panose="020B0604020202020204" pitchFamily="34" charset="0"/>
                <a:ea typeface="Domaine Display" charset="0"/>
                <a:cs typeface="Arial" panose="020B0604020202020204" pitchFamily="34" charset="0"/>
              </a:rPr>
              <a:t>Turning vision</a:t>
            </a:r>
          </a:p>
        </p:txBody>
      </p:sp>
      <p:grpSp>
        <p:nvGrpSpPr>
          <p:cNvPr id="33" name="Group 32">
            <a:extLst>
              <a:ext uri="{FF2B5EF4-FFF2-40B4-BE49-F238E27FC236}">
                <a16:creationId xmlns:a16="http://schemas.microsoft.com/office/drawing/2014/main" id="{0860573B-7502-4EE6-AE67-B3B2FFD71F32}"/>
              </a:ext>
            </a:extLst>
          </p:cNvPr>
          <p:cNvGrpSpPr>
            <a:grpSpLocks noChangeAspect="1"/>
          </p:cNvGrpSpPr>
          <p:nvPr userDrawn="1"/>
        </p:nvGrpSpPr>
        <p:grpSpPr>
          <a:xfrm>
            <a:off x="8654511" y="5940719"/>
            <a:ext cx="3097787" cy="413801"/>
            <a:chOff x="279400" y="2781300"/>
            <a:chExt cx="8585200" cy="1092200"/>
          </a:xfrm>
        </p:grpSpPr>
        <p:sp>
          <p:nvSpPr>
            <p:cNvPr id="34" name="Freeform 5">
              <a:extLst>
                <a:ext uri="{FF2B5EF4-FFF2-40B4-BE49-F238E27FC236}">
                  <a16:creationId xmlns:a16="http://schemas.microsoft.com/office/drawing/2014/main" id="{264CBBCF-7D70-4513-96B2-BDE78A1BE2AC}"/>
                </a:ext>
              </a:extLst>
            </p:cNvPr>
            <p:cNvSpPr>
              <a:spLocks/>
            </p:cNvSpPr>
            <p:nvPr/>
          </p:nvSpPr>
          <p:spPr bwMode="auto">
            <a:xfrm>
              <a:off x="4605338" y="2816225"/>
              <a:ext cx="958850" cy="1035050"/>
            </a:xfrm>
            <a:custGeom>
              <a:avLst/>
              <a:gdLst>
                <a:gd name="T0" fmla="*/ 142 w 604"/>
                <a:gd name="T1" fmla="*/ 272 h 652"/>
                <a:gd name="T2" fmla="*/ 142 w 604"/>
                <a:gd name="T3" fmla="*/ 57 h 652"/>
                <a:gd name="T4" fmla="*/ 206 w 604"/>
                <a:gd name="T5" fmla="*/ 57 h 652"/>
                <a:gd name="T6" fmla="*/ 206 w 604"/>
                <a:gd name="T7" fmla="*/ 0 h 652"/>
                <a:gd name="T8" fmla="*/ 0 w 604"/>
                <a:gd name="T9" fmla="*/ 0 h 652"/>
                <a:gd name="T10" fmla="*/ 0 w 604"/>
                <a:gd name="T11" fmla="*/ 57 h 652"/>
                <a:gd name="T12" fmla="*/ 64 w 604"/>
                <a:gd name="T13" fmla="*/ 57 h 652"/>
                <a:gd name="T14" fmla="*/ 64 w 604"/>
                <a:gd name="T15" fmla="*/ 587 h 652"/>
                <a:gd name="T16" fmla="*/ 0 w 604"/>
                <a:gd name="T17" fmla="*/ 587 h 652"/>
                <a:gd name="T18" fmla="*/ 0 w 604"/>
                <a:gd name="T19" fmla="*/ 652 h 652"/>
                <a:gd name="T20" fmla="*/ 206 w 604"/>
                <a:gd name="T21" fmla="*/ 652 h 652"/>
                <a:gd name="T22" fmla="*/ 206 w 604"/>
                <a:gd name="T23" fmla="*/ 587 h 652"/>
                <a:gd name="T24" fmla="*/ 142 w 604"/>
                <a:gd name="T25" fmla="*/ 587 h 652"/>
                <a:gd name="T26" fmla="*/ 142 w 604"/>
                <a:gd name="T27" fmla="*/ 329 h 652"/>
                <a:gd name="T28" fmla="*/ 462 w 604"/>
                <a:gd name="T29" fmla="*/ 329 h 652"/>
                <a:gd name="T30" fmla="*/ 462 w 604"/>
                <a:gd name="T31" fmla="*/ 587 h 652"/>
                <a:gd name="T32" fmla="*/ 398 w 604"/>
                <a:gd name="T33" fmla="*/ 587 h 652"/>
                <a:gd name="T34" fmla="*/ 398 w 604"/>
                <a:gd name="T35" fmla="*/ 652 h 652"/>
                <a:gd name="T36" fmla="*/ 604 w 604"/>
                <a:gd name="T37" fmla="*/ 652 h 652"/>
                <a:gd name="T38" fmla="*/ 604 w 604"/>
                <a:gd name="T39" fmla="*/ 587 h 652"/>
                <a:gd name="T40" fmla="*/ 540 w 604"/>
                <a:gd name="T41" fmla="*/ 587 h 652"/>
                <a:gd name="T42" fmla="*/ 540 w 604"/>
                <a:gd name="T43" fmla="*/ 57 h 652"/>
                <a:gd name="T44" fmla="*/ 604 w 604"/>
                <a:gd name="T45" fmla="*/ 57 h 652"/>
                <a:gd name="T46" fmla="*/ 604 w 604"/>
                <a:gd name="T47" fmla="*/ 0 h 652"/>
                <a:gd name="T48" fmla="*/ 398 w 604"/>
                <a:gd name="T49" fmla="*/ 0 h 652"/>
                <a:gd name="T50" fmla="*/ 398 w 604"/>
                <a:gd name="T51" fmla="*/ 57 h 652"/>
                <a:gd name="T52" fmla="*/ 462 w 604"/>
                <a:gd name="T53" fmla="*/ 57 h 652"/>
                <a:gd name="T54" fmla="*/ 462 w 604"/>
                <a:gd name="T55" fmla="*/ 272 h 652"/>
                <a:gd name="T56" fmla="*/ 142 w 604"/>
                <a:gd name="T57" fmla="*/ 27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4" h="652">
                  <a:moveTo>
                    <a:pt x="142" y="272"/>
                  </a:moveTo>
                  <a:lnTo>
                    <a:pt x="142" y="57"/>
                  </a:lnTo>
                  <a:lnTo>
                    <a:pt x="206" y="57"/>
                  </a:lnTo>
                  <a:lnTo>
                    <a:pt x="206" y="0"/>
                  </a:lnTo>
                  <a:lnTo>
                    <a:pt x="0" y="0"/>
                  </a:lnTo>
                  <a:lnTo>
                    <a:pt x="0" y="57"/>
                  </a:lnTo>
                  <a:lnTo>
                    <a:pt x="64" y="57"/>
                  </a:lnTo>
                  <a:lnTo>
                    <a:pt x="64" y="587"/>
                  </a:lnTo>
                  <a:lnTo>
                    <a:pt x="0" y="587"/>
                  </a:lnTo>
                  <a:lnTo>
                    <a:pt x="0" y="652"/>
                  </a:lnTo>
                  <a:lnTo>
                    <a:pt x="206" y="652"/>
                  </a:lnTo>
                  <a:lnTo>
                    <a:pt x="206" y="587"/>
                  </a:lnTo>
                  <a:lnTo>
                    <a:pt x="142" y="587"/>
                  </a:lnTo>
                  <a:lnTo>
                    <a:pt x="142" y="329"/>
                  </a:lnTo>
                  <a:lnTo>
                    <a:pt x="462" y="329"/>
                  </a:lnTo>
                  <a:lnTo>
                    <a:pt x="462" y="587"/>
                  </a:lnTo>
                  <a:lnTo>
                    <a:pt x="398" y="587"/>
                  </a:lnTo>
                  <a:lnTo>
                    <a:pt x="398" y="652"/>
                  </a:lnTo>
                  <a:lnTo>
                    <a:pt x="604" y="652"/>
                  </a:lnTo>
                  <a:lnTo>
                    <a:pt x="604" y="587"/>
                  </a:lnTo>
                  <a:lnTo>
                    <a:pt x="540" y="587"/>
                  </a:lnTo>
                  <a:lnTo>
                    <a:pt x="540" y="57"/>
                  </a:lnTo>
                  <a:lnTo>
                    <a:pt x="604" y="57"/>
                  </a:lnTo>
                  <a:lnTo>
                    <a:pt x="604" y="0"/>
                  </a:lnTo>
                  <a:lnTo>
                    <a:pt x="398" y="0"/>
                  </a:lnTo>
                  <a:lnTo>
                    <a:pt x="398" y="57"/>
                  </a:lnTo>
                  <a:lnTo>
                    <a:pt x="462" y="57"/>
                  </a:lnTo>
                  <a:lnTo>
                    <a:pt x="462" y="272"/>
                  </a:lnTo>
                  <a:lnTo>
                    <a:pt x="142" y="2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35" name="Freeform 6">
              <a:extLst>
                <a:ext uri="{FF2B5EF4-FFF2-40B4-BE49-F238E27FC236}">
                  <a16:creationId xmlns:a16="http://schemas.microsoft.com/office/drawing/2014/main" id="{CB55B7D8-3723-4CA7-83E2-4ECF2520F18B}"/>
                </a:ext>
              </a:extLst>
            </p:cNvPr>
            <p:cNvSpPr>
              <a:spLocks/>
            </p:cNvSpPr>
            <p:nvPr/>
          </p:nvSpPr>
          <p:spPr bwMode="auto">
            <a:xfrm>
              <a:off x="8042275" y="2816225"/>
              <a:ext cx="822325" cy="1035050"/>
            </a:xfrm>
            <a:custGeom>
              <a:avLst/>
              <a:gdLst>
                <a:gd name="T0" fmla="*/ 27 w 73"/>
                <a:gd name="T1" fmla="*/ 82 h 91"/>
                <a:gd name="T2" fmla="*/ 19 w 73"/>
                <a:gd name="T3" fmla="*/ 82 h 91"/>
                <a:gd name="T4" fmla="*/ 19 w 73"/>
                <a:gd name="T5" fmla="*/ 54 h 91"/>
                <a:gd name="T6" fmla="*/ 37 w 73"/>
                <a:gd name="T7" fmla="*/ 35 h 91"/>
                <a:gd name="T8" fmla="*/ 55 w 73"/>
                <a:gd name="T9" fmla="*/ 54 h 91"/>
                <a:gd name="T10" fmla="*/ 55 w 73"/>
                <a:gd name="T11" fmla="*/ 82 h 91"/>
                <a:gd name="T12" fmla="*/ 46 w 73"/>
                <a:gd name="T13" fmla="*/ 82 h 91"/>
                <a:gd name="T14" fmla="*/ 46 w 73"/>
                <a:gd name="T15" fmla="*/ 91 h 91"/>
                <a:gd name="T16" fmla="*/ 73 w 73"/>
                <a:gd name="T17" fmla="*/ 91 h 91"/>
                <a:gd name="T18" fmla="*/ 73 w 73"/>
                <a:gd name="T19" fmla="*/ 82 h 91"/>
                <a:gd name="T20" fmla="*/ 65 w 73"/>
                <a:gd name="T21" fmla="*/ 82 h 91"/>
                <a:gd name="T22" fmla="*/ 65 w 73"/>
                <a:gd name="T23" fmla="*/ 54 h 91"/>
                <a:gd name="T24" fmla="*/ 38 w 73"/>
                <a:gd name="T25" fmla="*/ 26 h 91"/>
                <a:gd name="T26" fmla="*/ 19 w 73"/>
                <a:gd name="T27" fmla="*/ 35 h 91"/>
                <a:gd name="T28" fmla="*/ 19 w 73"/>
                <a:gd name="T29" fmla="*/ 0 h 91"/>
                <a:gd name="T30" fmla="*/ 0 w 73"/>
                <a:gd name="T31" fmla="*/ 0 h 91"/>
                <a:gd name="T32" fmla="*/ 0 w 73"/>
                <a:gd name="T33" fmla="*/ 8 h 91"/>
                <a:gd name="T34" fmla="*/ 9 w 73"/>
                <a:gd name="T35" fmla="*/ 8 h 91"/>
                <a:gd name="T36" fmla="*/ 9 w 73"/>
                <a:gd name="T37" fmla="*/ 82 h 91"/>
                <a:gd name="T38" fmla="*/ 0 w 73"/>
                <a:gd name="T39" fmla="*/ 82 h 91"/>
                <a:gd name="T40" fmla="*/ 0 w 73"/>
                <a:gd name="T41" fmla="*/ 91 h 91"/>
                <a:gd name="T42" fmla="*/ 27 w 73"/>
                <a:gd name="T43" fmla="*/ 91 h 91"/>
                <a:gd name="T44" fmla="*/ 27 w 73"/>
                <a:gd name="T45" fmla="*/ 8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3" h="91">
                  <a:moveTo>
                    <a:pt x="27" y="82"/>
                  </a:moveTo>
                  <a:cubicBezTo>
                    <a:pt x="19" y="82"/>
                    <a:pt x="19" y="82"/>
                    <a:pt x="19" y="82"/>
                  </a:cubicBezTo>
                  <a:cubicBezTo>
                    <a:pt x="19" y="54"/>
                    <a:pt x="19" y="54"/>
                    <a:pt x="19" y="54"/>
                  </a:cubicBezTo>
                  <a:cubicBezTo>
                    <a:pt x="19" y="41"/>
                    <a:pt x="25" y="35"/>
                    <a:pt x="37" y="35"/>
                  </a:cubicBezTo>
                  <a:cubicBezTo>
                    <a:pt x="48" y="35"/>
                    <a:pt x="55" y="41"/>
                    <a:pt x="55" y="54"/>
                  </a:cubicBezTo>
                  <a:cubicBezTo>
                    <a:pt x="55" y="82"/>
                    <a:pt x="55" y="82"/>
                    <a:pt x="55" y="82"/>
                  </a:cubicBezTo>
                  <a:cubicBezTo>
                    <a:pt x="46" y="82"/>
                    <a:pt x="46" y="82"/>
                    <a:pt x="46" y="82"/>
                  </a:cubicBezTo>
                  <a:cubicBezTo>
                    <a:pt x="46" y="91"/>
                    <a:pt x="46" y="91"/>
                    <a:pt x="46" y="91"/>
                  </a:cubicBezTo>
                  <a:cubicBezTo>
                    <a:pt x="73" y="91"/>
                    <a:pt x="73" y="91"/>
                    <a:pt x="73" y="91"/>
                  </a:cubicBezTo>
                  <a:cubicBezTo>
                    <a:pt x="73" y="82"/>
                    <a:pt x="73" y="82"/>
                    <a:pt x="73" y="82"/>
                  </a:cubicBezTo>
                  <a:cubicBezTo>
                    <a:pt x="65" y="82"/>
                    <a:pt x="65" y="82"/>
                    <a:pt x="65" y="82"/>
                  </a:cubicBezTo>
                  <a:cubicBezTo>
                    <a:pt x="65" y="54"/>
                    <a:pt x="65" y="54"/>
                    <a:pt x="65" y="54"/>
                  </a:cubicBezTo>
                  <a:cubicBezTo>
                    <a:pt x="65" y="39"/>
                    <a:pt x="55" y="26"/>
                    <a:pt x="38" y="26"/>
                  </a:cubicBezTo>
                  <a:cubicBezTo>
                    <a:pt x="30" y="26"/>
                    <a:pt x="23" y="29"/>
                    <a:pt x="19" y="35"/>
                  </a:cubicBezTo>
                  <a:cubicBezTo>
                    <a:pt x="19" y="0"/>
                    <a:pt x="19" y="0"/>
                    <a:pt x="19" y="0"/>
                  </a:cubicBezTo>
                  <a:cubicBezTo>
                    <a:pt x="0" y="0"/>
                    <a:pt x="0" y="0"/>
                    <a:pt x="0" y="0"/>
                  </a:cubicBezTo>
                  <a:cubicBezTo>
                    <a:pt x="0" y="8"/>
                    <a:pt x="0" y="8"/>
                    <a:pt x="0" y="8"/>
                  </a:cubicBezTo>
                  <a:cubicBezTo>
                    <a:pt x="9" y="8"/>
                    <a:pt x="9" y="8"/>
                    <a:pt x="9" y="8"/>
                  </a:cubicBezTo>
                  <a:cubicBezTo>
                    <a:pt x="9" y="82"/>
                    <a:pt x="9" y="82"/>
                    <a:pt x="9" y="82"/>
                  </a:cubicBezTo>
                  <a:cubicBezTo>
                    <a:pt x="0" y="82"/>
                    <a:pt x="0" y="82"/>
                    <a:pt x="0" y="82"/>
                  </a:cubicBezTo>
                  <a:cubicBezTo>
                    <a:pt x="0" y="91"/>
                    <a:pt x="0" y="91"/>
                    <a:pt x="0" y="91"/>
                  </a:cubicBezTo>
                  <a:cubicBezTo>
                    <a:pt x="27" y="91"/>
                    <a:pt x="27" y="91"/>
                    <a:pt x="27" y="91"/>
                  </a:cubicBezTo>
                  <a:lnTo>
                    <a:pt x="27"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36" name="Freeform 7">
              <a:extLst>
                <a:ext uri="{FF2B5EF4-FFF2-40B4-BE49-F238E27FC236}">
                  <a16:creationId xmlns:a16="http://schemas.microsoft.com/office/drawing/2014/main" id="{66826270-096D-4A0F-B57D-78D557210E97}"/>
                </a:ext>
              </a:extLst>
            </p:cNvPr>
            <p:cNvSpPr>
              <a:spLocks noEditPoints="1"/>
            </p:cNvSpPr>
            <p:nvPr/>
          </p:nvSpPr>
          <p:spPr bwMode="auto">
            <a:xfrm>
              <a:off x="6419850" y="3111500"/>
              <a:ext cx="822325" cy="750888"/>
            </a:xfrm>
            <a:custGeom>
              <a:avLst/>
              <a:gdLst>
                <a:gd name="T0" fmla="*/ 73 w 73"/>
                <a:gd name="T1" fmla="*/ 10 h 66"/>
                <a:gd name="T2" fmla="*/ 73 w 73"/>
                <a:gd name="T3" fmla="*/ 2 h 66"/>
                <a:gd name="T4" fmla="*/ 54 w 73"/>
                <a:gd name="T5" fmla="*/ 2 h 66"/>
                <a:gd name="T6" fmla="*/ 54 w 73"/>
                <a:gd name="T7" fmla="*/ 11 h 66"/>
                <a:gd name="T8" fmla="*/ 31 w 73"/>
                <a:gd name="T9" fmla="*/ 0 h 66"/>
                <a:gd name="T10" fmla="*/ 0 w 73"/>
                <a:gd name="T11" fmla="*/ 33 h 66"/>
                <a:gd name="T12" fmla="*/ 31 w 73"/>
                <a:gd name="T13" fmla="*/ 66 h 66"/>
                <a:gd name="T14" fmla="*/ 54 w 73"/>
                <a:gd name="T15" fmla="*/ 55 h 66"/>
                <a:gd name="T16" fmla="*/ 54 w 73"/>
                <a:gd name="T17" fmla="*/ 65 h 66"/>
                <a:gd name="T18" fmla="*/ 73 w 73"/>
                <a:gd name="T19" fmla="*/ 65 h 66"/>
                <a:gd name="T20" fmla="*/ 73 w 73"/>
                <a:gd name="T21" fmla="*/ 56 h 66"/>
                <a:gd name="T22" fmla="*/ 64 w 73"/>
                <a:gd name="T23" fmla="*/ 56 h 66"/>
                <a:gd name="T24" fmla="*/ 64 w 73"/>
                <a:gd name="T25" fmla="*/ 10 h 66"/>
                <a:gd name="T26" fmla="*/ 73 w 73"/>
                <a:gd name="T27" fmla="*/ 10 h 66"/>
                <a:gd name="T28" fmla="*/ 33 w 73"/>
                <a:gd name="T29" fmla="*/ 58 h 66"/>
                <a:gd name="T30" fmla="*/ 11 w 73"/>
                <a:gd name="T31" fmla="*/ 33 h 66"/>
                <a:gd name="T32" fmla="*/ 33 w 73"/>
                <a:gd name="T33" fmla="*/ 9 h 66"/>
                <a:gd name="T34" fmla="*/ 54 w 73"/>
                <a:gd name="T35" fmla="*/ 33 h 66"/>
                <a:gd name="T36" fmla="*/ 33 w 73"/>
                <a:gd name="T37" fmla="*/ 5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3" h="66">
                  <a:moveTo>
                    <a:pt x="73" y="10"/>
                  </a:moveTo>
                  <a:cubicBezTo>
                    <a:pt x="73" y="2"/>
                    <a:pt x="73" y="2"/>
                    <a:pt x="73" y="2"/>
                  </a:cubicBezTo>
                  <a:cubicBezTo>
                    <a:pt x="54" y="2"/>
                    <a:pt x="54" y="2"/>
                    <a:pt x="54" y="2"/>
                  </a:cubicBezTo>
                  <a:cubicBezTo>
                    <a:pt x="54" y="11"/>
                    <a:pt x="54" y="11"/>
                    <a:pt x="54" y="11"/>
                  </a:cubicBezTo>
                  <a:cubicBezTo>
                    <a:pt x="49" y="4"/>
                    <a:pt x="41" y="0"/>
                    <a:pt x="31" y="0"/>
                  </a:cubicBezTo>
                  <a:cubicBezTo>
                    <a:pt x="13" y="0"/>
                    <a:pt x="0" y="14"/>
                    <a:pt x="0" y="33"/>
                  </a:cubicBezTo>
                  <a:cubicBezTo>
                    <a:pt x="0" y="52"/>
                    <a:pt x="13" y="66"/>
                    <a:pt x="31" y="66"/>
                  </a:cubicBezTo>
                  <a:cubicBezTo>
                    <a:pt x="41" y="66"/>
                    <a:pt x="49" y="62"/>
                    <a:pt x="54" y="55"/>
                  </a:cubicBezTo>
                  <a:cubicBezTo>
                    <a:pt x="54" y="65"/>
                    <a:pt x="54" y="65"/>
                    <a:pt x="54" y="65"/>
                  </a:cubicBezTo>
                  <a:cubicBezTo>
                    <a:pt x="73" y="65"/>
                    <a:pt x="73" y="65"/>
                    <a:pt x="73" y="65"/>
                  </a:cubicBezTo>
                  <a:cubicBezTo>
                    <a:pt x="73" y="56"/>
                    <a:pt x="73" y="56"/>
                    <a:pt x="73" y="56"/>
                  </a:cubicBezTo>
                  <a:cubicBezTo>
                    <a:pt x="64" y="56"/>
                    <a:pt x="64" y="56"/>
                    <a:pt x="64" y="56"/>
                  </a:cubicBezTo>
                  <a:cubicBezTo>
                    <a:pt x="64" y="10"/>
                    <a:pt x="64" y="10"/>
                    <a:pt x="64" y="10"/>
                  </a:cubicBezTo>
                  <a:lnTo>
                    <a:pt x="73" y="10"/>
                  </a:lnTo>
                  <a:close/>
                  <a:moveTo>
                    <a:pt x="33" y="58"/>
                  </a:moveTo>
                  <a:cubicBezTo>
                    <a:pt x="20" y="58"/>
                    <a:pt x="11" y="47"/>
                    <a:pt x="11" y="33"/>
                  </a:cubicBezTo>
                  <a:cubicBezTo>
                    <a:pt x="11" y="19"/>
                    <a:pt x="20" y="9"/>
                    <a:pt x="33" y="9"/>
                  </a:cubicBezTo>
                  <a:cubicBezTo>
                    <a:pt x="46" y="9"/>
                    <a:pt x="54" y="19"/>
                    <a:pt x="54" y="33"/>
                  </a:cubicBezTo>
                  <a:cubicBezTo>
                    <a:pt x="54" y="47"/>
                    <a:pt x="46" y="58"/>
                    <a:pt x="33" y="5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37" name="Freeform 8">
              <a:extLst>
                <a:ext uri="{FF2B5EF4-FFF2-40B4-BE49-F238E27FC236}">
                  <a16:creationId xmlns:a16="http://schemas.microsoft.com/office/drawing/2014/main" id="{D644210C-71FB-46C2-BB06-3DAD03BC87A0}"/>
                </a:ext>
              </a:extLst>
            </p:cNvPr>
            <p:cNvSpPr>
              <a:spLocks noEditPoints="1"/>
            </p:cNvSpPr>
            <p:nvPr/>
          </p:nvSpPr>
          <p:spPr bwMode="auto">
            <a:xfrm>
              <a:off x="5608638" y="3111500"/>
              <a:ext cx="731838" cy="750888"/>
            </a:xfrm>
            <a:custGeom>
              <a:avLst/>
              <a:gdLst>
                <a:gd name="T0" fmla="*/ 65 w 65"/>
                <a:gd name="T1" fmla="*/ 32 h 66"/>
                <a:gd name="T2" fmla="*/ 33 w 65"/>
                <a:gd name="T3" fmla="*/ 0 h 66"/>
                <a:gd name="T4" fmla="*/ 0 w 65"/>
                <a:gd name="T5" fmla="*/ 33 h 66"/>
                <a:gd name="T6" fmla="*/ 33 w 65"/>
                <a:gd name="T7" fmla="*/ 66 h 66"/>
                <a:gd name="T8" fmla="*/ 63 w 65"/>
                <a:gd name="T9" fmla="*/ 48 h 66"/>
                <a:gd name="T10" fmla="*/ 53 w 65"/>
                <a:gd name="T11" fmla="*/ 48 h 66"/>
                <a:gd name="T12" fmla="*/ 34 w 65"/>
                <a:gd name="T13" fmla="*/ 58 h 66"/>
                <a:gd name="T14" fmla="*/ 11 w 65"/>
                <a:gd name="T15" fmla="*/ 37 h 66"/>
                <a:gd name="T16" fmla="*/ 65 w 65"/>
                <a:gd name="T17" fmla="*/ 37 h 66"/>
                <a:gd name="T18" fmla="*/ 65 w 65"/>
                <a:gd name="T19" fmla="*/ 32 h 66"/>
                <a:gd name="T20" fmla="*/ 11 w 65"/>
                <a:gd name="T21" fmla="*/ 28 h 66"/>
                <a:gd name="T22" fmla="*/ 33 w 65"/>
                <a:gd name="T23" fmla="*/ 8 h 66"/>
                <a:gd name="T24" fmla="*/ 55 w 65"/>
                <a:gd name="T25" fmla="*/ 28 h 66"/>
                <a:gd name="T26" fmla="*/ 11 w 65"/>
                <a:gd name="T27"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5" h="66">
                  <a:moveTo>
                    <a:pt x="65" y="32"/>
                  </a:moveTo>
                  <a:cubicBezTo>
                    <a:pt x="65" y="13"/>
                    <a:pt x="53" y="0"/>
                    <a:pt x="33" y="0"/>
                  </a:cubicBezTo>
                  <a:cubicBezTo>
                    <a:pt x="14" y="0"/>
                    <a:pt x="0" y="14"/>
                    <a:pt x="0" y="33"/>
                  </a:cubicBezTo>
                  <a:cubicBezTo>
                    <a:pt x="0" y="53"/>
                    <a:pt x="14" y="66"/>
                    <a:pt x="33" y="66"/>
                  </a:cubicBezTo>
                  <a:cubicBezTo>
                    <a:pt x="47" y="66"/>
                    <a:pt x="58" y="59"/>
                    <a:pt x="63" y="48"/>
                  </a:cubicBezTo>
                  <a:cubicBezTo>
                    <a:pt x="53" y="48"/>
                    <a:pt x="53" y="48"/>
                    <a:pt x="53" y="48"/>
                  </a:cubicBezTo>
                  <a:cubicBezTo>
                    <a:pt x="50" y="54"/>
                    <a:pt x="43" y="58"/>
                    <a:pt x="34" y="58"/>
                  </a:cubicBezTo>
                  <a:cubicBezTo>
                    <a:pt x="19" y="58"/>
                    <a:pt x="12" y="49"/>
                    <a:pt x="11" y="37"/>
                  </a:cubicBezTo>
                  <a:cubicBezTo>
                    <a:pt x="65" y="37"/>
                    <a:pt x="65" y="37"/>
                    <a:pt x="65" y="37"/>
                  </a:cubicBezTo>
                  <a:lnTo>
                    <a:pt x="65" y="32"/>
                  </a:lnTo>
                  <a:close/>
                  <a:moveTo>
                    <a:pt x="11" y="28"/>
                  </a:moveTo>
                  <a:cubicBezTo>
                    <a:pt x="12" y="17"/>
                    <a:pt x="20" y="8"/>
                    <a:pt x="33" y="8"/>
                  </a:cubicBezTo>
                  <a:cubicBezTo>
                    <a:pt x="47" y="8"/>
                    <a:pt x="54" y="18"/>
                    <a:pt x="55" y="28"/>
                  </a:cubicBezTo>
                  <a:lnTo>
                    <a:pt x="11"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38" name="Freeform 9">
              <a:extLst>
                <a:ext uri="{FF2B5EF4-FFF2-40B4-BE49-F238E27FC236}">
                  <a16:creationId xmlns:a16="http://schemas.microsoft.com/office/drawing/2014/main" id="{6BD464F9-CB86-4782-98A8-138D13B22E79}"/>
                </a:ext>
              </a:extLst>
            </p:cNvPr>
            <p:cNvSpPr>
              <a:spLocks/>
            </p:cNvSpPr>
            <p:nvPr/>
          </p:nvSpPr>
          <p:spPr bwMode="auto">
            <a:xfrm>
              <a:off x="7613650" y="2952750"/>
              <a:ext cx="360363" cy="898525"/>
            </a:xfrm>
            <a:custGeom>
              <a:avLst/>
              <a:gdLst>
                <a:gd name="T0" fmla="*/ 20 w 32"/>
                <a:gd name="T1" fmla="*/ 62 h 79"/>
                <a:gd name="T2" fmla="*/ 20 w 32"/>
                <a:gd name="T3" fmla="*/ 24 h 79"/>
                <a:gd name="T4" fmla="*/ 32 w 32"/>
                <a:gd name="T5" fmla="*/ 24 h 79"/>
                <a:gd name="T6" fmla="*/ 32 w 32"/>
                <a:gd name="T7" fmla="*/ 16 h 79"/>
                <a:gd name="T8" fmla="*/ 20 w 32"/>
                <a:gd name="T9" fmla="*/ 16 h 79"/>
                <a:gd name="T10" fmla="*/ 20 w 32"/>
                <a:gd name="T11" fmla="*/ 0 h 79"/>
                <a:gd name="T12" fmla="*/ 9 w 32"/>
                <a:gd name="T13" fmla="*/ 0 h 79"/>
                <a:gd name="T14" fmla="*/ 9 w 32"/>
                <a:gd name="T15" fmla="*/ 16 h 79"/>
                <a:gd name="T16" fmla="*/ 0 w 32"/>
                <a:gd name="T17" fmla="*/ 16 h 79"/>
                <a:gd name="T18" fmla="*/ 0 w 32"/>
                <a:gd name="T19" fmla="*/ 24 h 79"/>
                <a:gd name="T20" fmla="*/ 9 w 32"/>
                <a:gd name="T21" fmla="*/ 24 h 79"/>
                <a:gd name="T22" fmla="*/ 9 w 32"/>
                <a:gd name="T23" fmla="*/ 63 h 79"/>
                <a:gd name="T24" fmla="*/ 26 w 32"/>
                <a:gd name="T25" fmla="*/ 79 h 79"/>
                <a:gd name="T26" fmla="*/ 32 w 32"/>
                <a:gd name="T27" fmla="*/ 79 h 79"/>
                <a:gd name="T28" fmla="*/ 32 w 32"/>
                <a:gd name="T29" fmla="*/ 70 h 79"/>
                <a:gd name="T30" fmla="*/ 27 w 32"/>
                <a:gd name="T31" fmla="*/ 71 h 79"/>
                <a:gd name="T32" fmla="*/ 20 w 32"/>
                <a:gd name="T33" fmla="*/ 6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79">
                  <a:moveTo>
                    <a:pt x="20" y="62"/>
                  </a:moveTo>
                  <a:cubicBezTo>
                    <a:pt x="20" y="24"/>
                    <a:pt x="20" y="24"/>
                    <a:pt x="20" y="24"/>
                  </a:cubicBezTo>
                  <a:cubicBezTo>
                    <a:pt x="32" y="24"/>
                    <a:pt x="32" y="24"/>
                    <a:pt x="32" y="24"/>
                  </a:cubicBezTo>
                  <a:cubicBezTo>
                    <a:pt x="32" y="16"/>
                    <a:pt x="32" y="16"/>
                    <a:pt x="32" y="16"/>
                  </a:cubicBezTo>
                  <a:cubicBezTo>
                    <a:pt x="20" y="16"/>
                    <a:pt x="20" y="16"/>
                    <a:pt x="20" y="16"/>
                  </a:cubicBezTo>
                  <a:cubicBezTo>
                    <a:pt x="20" y="0"/>
                    <a:pt x="20" y="0"/>
                    <a:pt x="20" y="0"/>
                  </a:cubicBezTo>
                  <a:cubicBezTo>
                    <a:pt x="9" y="0"/>
                    <a:pt x="9" y="0"/>
                    <a:pt x="9" y="0"/>
                  </a:cubicBezTo>
                  <a:cubicBezTo>
                    <a:pt x="9" y="16"/>
                    <a:pt x="9" y="16"/>
                    <a:pt x="9" y="16"/>
                  </a:cubicBezTo>
                  <a:cubicBezTo>
                    <a:pt x="0" y="16"/>
                    <a:pt x="0" y="16"/>
                    <a:pt x="0" y="16"/>
                  </a:cubicBezTo>
                  <a:cubicBezTo>
                    <a:pt x="0" y="24"/>
                    <a:pt x="0" y="24"/>
                    <a:pt x="0" y="24"/>
                  </a:cubicBezTo>
                  <a:cubicBezTo>
                    <a:pt x="9" y="24"/>
                    <a:pt x="9" y="24"/>
                    <a:pt x="9" y="24"/>
                  </a:cubicBezTo>
                  <a:cubicBezTo>
                    <a:pt x="9" y="63"/>
                    <a:pt x="9" y="63"/>
                    <a:pt x="9" y="63"/>
                  </a:cubicBezTo>
                  <a:cubicBezTo>
                    <a:pt x="9" y="74"/>
                    <a:pt x="14" y="79"/>
                    <a:pt x="26" y="79"/>
                  </a:cubicBezTo>
                  <a:cubicBezTo>
                    <a:pt x="28" y="79"/>
                    <a:pt x="31" y="79"/>
                    <a:pt x="32" y="79"/>
                  </a:cubicBezTo>
                  <a:cubicBezTo>
                    <a:pt x="32" y="70"/>
                    <a:pt x="32" y="70"/>
                    <a:pt x="32" y="70"/>
                  </a:cubicBezTo>
                  <a:cubicBezTo>
                    <a:pt x="30" y="71"/>
                    <a:pt x="29" y="71"/>
                    <a:pt x="27" y="71"/>
                  </a:cubicBezTo>
                  <a:cubicBezTo>
                    <a:pt x="22" y="71"/>
                    <a:pt x="20" y="69"/>
                    <a:pt x="20" y="6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39" name="Freeform 10">
              <a:extLst>
                <a:ext uri="{FF2B5EF4-FFF2-40B4-BE49-F238E27FC236}">
                  <a16:creationId xmlns:a16="http://schemas.microsoft.com/office/drawing/2014/main" id="{4A8BDCE4-6FCC-47A7-9CDE-4AC06B36DA13}"/>
                </a:ext>
              </a:extLst>
            </p:cNvPr>
            <p:cNvSpPr>
              <a:spLocks/>
            </p:cNvSpPr>
            <p:nvPr/>
          </p:nvSpPr>
          <p:spPr bwMode="auto">
            <a:xfrm>
              <a:off x="7275513" y="2816225"/>
              <a:ext cx="338138" cy="1035050"/>
            </a:xfrm>
            <a:custGeom>
              <a:avLst/>
              <a:gdLst>
                <a:gd name="T0" fmla="*/ 24 w 30"/>
                <a:gd name="T1" fmla="*/ 91 h 91"/>
                <a:gd name="T2" fmla="*/ 30 w 30"/>
                <a:gd name="T3" fmla="*/ 91 h 91"/>
                <a:gd name="T4" fmla="*/ 30 w 30"/>
                <a:gd name="T5" fmla="*/ 82 h 91"/>
                <a:gd name="T6" fmla="*/ 26 w 30"/>
                <a:gd name="T7" fmla="*/ 83 h 91"/>
                <a:gd name="T8" fmla="*/ 19 w 30"/>
                <a:gd name="T9" fmla="*/ 74 h 91"/>
                <a:gd name="T10" fmla="*/ 19 w 30"/>
                <a:gd name="T11" fmla="*/ 0 h 91"/>
                <a:gd name="T12" fmla="*/ 0 w 30"/>
                <a:gd name="T13" fmla="*/ 0 h 91"/>
                <a:gd name="T14" fmla="*/ 0 w 30"/>
                <a:gd name="T15" fmla="*/ 8 h 91"/>
                <a:gd name="T16" fmla="*/ 9 w 30"/>
                <a:gd name="T17" fmla="*/ 8 h 91"/>
                <a:gd name="T18" fmla="*/ 9 w 30"/>
                <a:gd name="T19" fmla="*/ 74 h 91"/>
                <a:gd name="T20" fmla="*/ 24 w 30"/>
                <a:gd name="T21"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91">
                  <a:moveTo>
                    <a:pt x="24" y="91"/>
                  </a:moveTo>
                  <a:cubicBezTo>
                    <a:pt x="26" y="91"/>
                    <a:pt x="29" y="91"/>
                    <a:pt x="30" y="91"/>
                  </a:cubicBezTo>
                  <a:cubicBezTo>
                    <a:pt x="30" y="82"/>
                    <a:pt x="30" y="82"/>
                    <a:pt x="30" y="82"/>
                  </a:cubicBezTo>
                  <a:cubicBezTo>
                    <a:pt x="28" y="83"/>
                    <a:pt x="27" y="83"/>
                    <a:pt x="26" y="83"/>
                  </a:cubicBezTo>
                  <a:cubicBezTo>
                    <a:pt x="21" y="83"/>
                    <a:pt x="19" y="80"/>
                    <a:pt x="19" y="74"/>
                  </a:cubicBezTo>
                  <a:cubicBezTo>
                    <a:pt x="19" y="0"/>
                    <a:pt x="19" y="0"/>
                    <a:pt x="19" y="0"/>
                  </a:cubicBezTo>
                  <a:cubicBezTo>
                    <a:pt x="0" y="0"/>
                    <a:pt x="0" y="0"/>
                    <a:pt x="0" y="0"/>
                  </a:cubicBezTo>
                  <a:cubicBezTo>
                    <a:pt x="0" y="8"/>
                    <a:pt x="0" y="8"/>
                    <a:pt x="0" y="8"/>
                  </a:cubicBezTo>
                  <a:cubicBezTo>
                    <a:pt x="9" y="8"/>
                    <a:pt x="9" y="8"/>
                    <a:pt x="9" y="8"/>
                  </a:cubicBezTo>
                  <a:cubicBezTo>
                    <a:pt x="9" y="74"/>
                    <a:pt x="9" y="74"/>
                    <a:pt x="9" y="74"/>
                  </a:cubicBezTo>
                  <a:cubicBezTo>
                    <a:pt x="9" y="85"/>
                    <a:pt x="13" y="91"/>
                    <a:pt x="24" y="91"/>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40" name="Freeform 11">
              <a:extLst>
                <a:ext uri="{FF2B5EF4-FFF2-40B4-BE49-F238E27FC236}">
                  <a16:creationId xmlns:a16="http://schemas.microsoft.com/office/drawing/2014/main" id="{331AB147-689A-43A6-B970-E8CB2BE02D79}"/>
                </a:ext>
              </a:extLst>
            </p:cNvPr>
            <p:cNvSpPr>
              <a:spLocks/>
            </p:cNvSpPr>
            <p:nvPr/>
          </p:nvSpPr>
          <p:spPr bwMode="auto">
            <a:xfrm>
              <a:off x="3603625" y="2781300"/>
              <a:ext cx="911225" cy="1092200"/>
            </a:xfrm>
            <a:custGeom>
              <a:avLst/>
              <a:gdLst>
                <a:gd name="T0" fmla="*/ 28 w 81"/>
                <a:gd name="T1" fmla="*/ 65 h 96"/>
                <a:gd name="T2" fmla="*/ 41 w 81"/>
                <a:gd name="T3" fmla="*/ 74 h 96"/>
                <a:gd name="T4" fmla="*/ 52 w 81"/>
                <a:gd name="T5" fmla="*/ 68 h 96"/>
                <a:gd name="T6" fmla="*/ 36 w 81"/>
                <a:gd name="T7" fmla="*/ 59 h 96"/>
                <a:gd name="T8" fmla="*/ 12 w 81"/>
                <a:gd name="T9" fmla="*/ 50 h 96"/>
                <a:gd name="T10" fmla="*/ 1 w 81"/>
                <a:gd name="T11" fmla="*/ 29 h 96"/>
                <a:gd name="T12" fmla="*/ 39 w 81"/>
                <a:gd name="T13" fmla="*/ 0 h 96"/>
                <a:gd name="T14" fmla="*/ 78 w 81"/>
                <a:gd name="T15" fmla="*/ 29 h 96"/>
                <a:gd name="T16" fmla="*/ 51 w 81"/>
                <a:gd name="T17" fmla="*/ 29 h 96"/>
                <a:gd name="T18" fmla="*/ 39 w 81"/>
                <a:gd name="T19" fmla="*/ 21 h 96"/>
                <a:gd name="T20" fmla="*/ 30 w 81"/>
                <a:gd name="T21" fmla="*/ 27 h 96"/>
                <a:gd name="T22" fmla="*/ 43 w 81"/>
                <a:gd name="T23" fmla="*/ 35 h 96"/>
                <a:gd name="T24" fmla="*/ 69 w 81"/>
                <a:gd name="T25" fmla="*/ 43 h 96"/>
                <a:gd name="T26" fmla="*/ 81 w 81"/>
                <a:gd name="T27" fmla="*/ 65 h 96"/>
                <a:gd name="T28" fmla="*/ 40 w 81"/>
                <a:gd name="T29" fmla="*/ 96 h 96"/>
                <a:gd name="T30" fmla="*/ 0 w 81"/>
                <a:gd name="T31" fmla="*/ 65 h 96"/>
                <a:gd name="T32" fmla="*/ 28 w 81"/>
                <a:gd name="T33" fmla="*/ 6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 h="96">
                  <a:moveTo>
                    <a:pt x="28" y="65"/>
                  </a:moveTo>
                  <a:cubicBezTo>
                    <a:pt x="29" y="72"/>
                    <a:pt x="33" y="74"/>
                    <a:pt x="41" y="74"/>
                  </a:cubicBezTo>
                  <a:cubicBezTo>
                    <a:pt x="48" y="74"/>
                    <a:pt x="52" y="72"/>
                    <a:pt x="52" y="68"/>
                  </a:cubicBezTo>
                  <a:cubicBezTo>
                    <a:pt x="52" y="62"/>
                    <a:pt x="47" y="62"/>
                    <a:pt x="36" y="59"/>
                  </a:cubicBezTo>
                  <a:cubicBezTo>
                    <a:pt x="24" y="55"/>
                    <a:pt x="15" y="53"/>
                    <a:pt x="12" y="50"/>
                  </a:cubicBezTo>
                  <a:cubicBezTo>
                    <a:pt x="5" y="45"/>
                    <a:pt x="1" y="38"/>
                    <a:pt x="1" y="29"/>
                  </a:cubicBezTo>
                  <a:cubicBezTo>
                    <a:pt x="1" y="11"/>
                    <a:pt x="15" y="0"/>
                    <a:pt x="39" y="0"/>
                  </a:cubicBezTo>
                  <a:cubicBezTo>
                    <a:pt x="63" y="0"/>
                    <a:pt x="77" y="10"/>
                    <a:pt x="78" y="29"/>
                  </a:cubicBezTo>
                  <a:cubicBezTo>
                    <a:pt x="51" y="29"/>
                    <a:pt x="51" y="29"/>
                    <a:pt x="51" y="29"/>
                  </a:cubicBezTo>
                  <a:cubicBezTo>
                    <a:pt x="50" y="23"/>
                    <a:pt x="46" y="21"/>
                    <a:pt x="39" y="21"/>
                  </a:cubicBezTo>
                  <a:cubicBezTo>
                    <a:pt x="33" y="21"/>
                    <a:pt x="30" y="23"/>
                    <a:pt x="30" y="27"/>
                  </a:cubicBezTo>
                  <a:cubicBezTo>
                    <a:pt x="30" y="32"/>
                    <a:pt x="34" y="33"/>
                    <a:pt x="43" y="35"/>
                  </a:cubicBezTo>
                  <a:cubicBezTo>
                    <a:pt x="54" y="38"/>
                    <a:pt x="63" y="40"/>
                    <a:pt x="69" y="43"/>
                  </a:cubicBezTo>
                  <a:cubicBezTo>
                    <a:pt x="77" y="49"/>
                    <a:pt x="81" y="55"/>
                    <a:pt x="81" y="65"/>
                  </a:cubicBezTo>
                  <a:cubicBezTo>
                    <a:pt x="81" y="84"/>
                    <a:pt x="66" y="96"/>
                    <a:pt x="40" y="96"/>
                  </a:cubicBezTo>
                  <a:cubicBezTo>
                    <a:pt x="16" y="96"/>
                    <a:pt x="1" y="84"/>
                    <a:pt x="0" y="65"/>
                  </a:cubicBezTo>
                  <a:lnTo>
                    <a:pt x="28" y="65"/>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41" name="Freeform 12">
              <a:extLst>
                <a:ext uri="{FF2B5EF4-FFF2-40B4-BE49-F238E27FC236}">
                  <a16:creationId xmlns:a16="http://schemas.microsoft.com/office/drawing/2014/main" id="{AA8CC35E-627A-410D-9CC1-5DFD27072BFF}"/>
                </a:ext>
              </a:extLst>
            </p:cNvPr>
            <p:cNvSpPr>
              <a:spLocks/>
            </p:cNvSpPr>
            <p:nvPr/>
          </p:nvSpPr>
          <p:spPr bwMode="auto">
            <a:xfrm>
              <a:off x="1698625" y="2781300"/>
              <a:ext cx="1014413" cy="1092200"/>
            </a:xfrm>
            <a:custGeom>
              <a:avLst/>
              <a:gdLst>
                <a:gd name="T0" fmla="*/ 90 w 90"/>
                <a:gd name="T1" fmla="*/ 58 h 96"/>
                <a:gd name="T2" fmla="*/ 46 w 90"/>
                <a:gd name="T3" fmla="*/ 96 h 96"/>
                <a:gd name="T4" fmla="*/ 0 w 90"/>
                <a:gd name="T5" fmla="*/ 48 h 96"/>
                <a:gd name="T6" fmla="*/ 46 w 90"/>
                <a:gd name="T7" fmla="*/ 0 h 96"/>
                <a:gd name="T8" fmla="*/ 89 w 90"/>
                <a:gd name="T9" fmla="*/ 37 h 96"/>
                <a:gd name="T10" fmla="*/ 62 w 90"/>
                <a:gd name="T11" fmla="*/ 37 h 96"/>
                <a:gd name="T12" fmla="*/ 46 w 90"/>
                <a:gd name="T13" fmla="*/ 23 h 96"/>
                <a:gd name="T14" fmla="*/ 29 w 90"/>
                <a:gd name="T15" fmla="*/ 48 h 96"/>
                <a:gd name="T16" fmla="*/ 47 w 90"/>
                <a:gd name="T17" fmla="*/ 73 h 96"/>
                <a:gd name="T18" fmla="*/ 62 w 90"/>
                <a:gd name="T19" fmla="*/ 58 h 96"/>
                <a:gd name="T20" fmla="*/ 90 w 90"/>
                <a:gd name="T21" fmla="*/ 5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 h="96">
                  <a:moveTo>
                    <a:pt x="90" y="58"/>
                  </a:moveTo>
                  <a:cubicBezTo>
                    <a:pt x="88" y="82"/>
                    <a:pt x="72" y="96"/>
                    <a:pt x="46" y="96"/>
                  </a:cubicBezTo>
                  <a:cubicBezTo>
                    <a:pt x="17" y="96"/>
                    <a:pt x="0" y="78"/>
                    <a:pt x="0" y="48"/>
                  </a:cubicBezTo>
                  <a:cubicBezTo>
                    <a:pt x="0" y="18"/>
                    <a:pt x="17" y="0"/>
                    <a:pt x="46" y="0"/>
                  </a:cubicBezTo>
                  <a:cubicBezTo>
                    <a:pt x="72" y="0"/>
                    <a:pt x="88" y="13"/>
                    <a:pt x="89" y="37"/>
                  </a:cubicBezTo>
                  <a:cubicBezTo>
                    <a:pt x="62" y="37"/>
                    <a:pt x="62" y="37"/>
                    <a:pt x="62" y="37"/>
                  </a:cubicBezTo>
                  <a:cubicBezTo>
                    <a:pt x="61" y="28"/>
                    <a:pt x="55" y="23"/>
                    <a:pt x="46" y="23"/>
                  </a:cubicBezTo>
                  <a:cubicBezTo>
                    <a:pt x="35" y="23"/>
                    <a:pt x="29" y="31"/>
                    <a:pt x="29" y="48"/>
                  </a:cubicBezTo>
                  <a:cubicBezTo>
                    <a:pt x="29" y="65"/>
                    <a:pt x="35" y="73"/>
                    <a:pt x="47" y="73"/>
                  </a:cubicBezTo>
                  <a:cubicBezTo>
                    <a:pt x="56" y="73"/>
                    <a:pt x="61" y="68"/>
                    <a:pt x="62" y="58"/>
                  </a:cubicBezTo>
                  <a:lnTo>
                    <a:pt x="90" y="58"/>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42" name="Freeform 13">
              <a:extLst>
                <a:ext uri="{FF2B5EF4-FFF2-40B4-BE49-F238E27FC236}">
                  <a16:creationId xmlns:a16="http://schemas.microsoft.com/office/drawing/2014/main" id="{A6104163-5896-46B6-AC7E-D2E4D25EC2F7}"/>
                </a:ext>
              </a:extLst>
            </p:cNvPr>
            <p:cNvSpPr>
              <a:spLocks/>
            </p:cNvSpPr>
            <p:nvPr/>
          </p:nvSpPr>
          <p:spPr bwMode="auto">
            <a:xfrm>
              <a:off x="2644774" y="2816225"/>
              <a:ext cx="1014412" cy="1023939"/>
            </a:xfrm>
            <a:custGeom>
              <a:avLst/>
              <a:gdLst>
                <a:gd name="T0" fmla="*/ 0 w 639"/>
                <a:gd name="T1" fmla="*/ 0 h 645"/>
                <a:gd name="T2" fmla="*/ 206 w 639"/>
                <a:gd name="T3" fmla="*/ 0 h 645"/>
                <a:gd name="T4" fmla="*/ 320 w 639"/>
                <a:gd name="T5" fmla="*/ 415 h 645"/>
                <a:gd name="T6" fmla="*/ 433 w 639"/>
                <a:gd name="T7" fmla="*/ 0 h 645"/>
                <a:gd name="T8" fmla="*/ 639 w 639"/>
                <a:gd name="T9" fmla="*/ 0 h 645"/>
                <a:gd name="T10" fmla="*/ 419 w 639"/>
                <a:gd name="T11" fmla="*/ 645 h 645"/>
                <a:gd name="T12" fmla="*/ 213 w 639"/>
                <a:gd name="T13" fmla="*/ 645 h 645"/>
                <a:gd name="T14" fmla="*/ 0 w 639"/>
                <a:gd name="T15" fmla="*/ 0 h 6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9" h="645">
                  <a:moveTo>
                    <a:pt x="0" y="0"/>
                  </a:moveTo>
                  <a:lnTo>
                    <a:pt x="206" y="0"/>
                  </a:lnTo>
                  <a:lnTo>
                    <a:pt x="320" y="415"/>
                  </a:lnTo>
                  <a:lnTo>
                    <a:pt x="433" y="0"/>
                  </a:lnTo>
                  <a:lnTo>
                    <a:pt x="639" y="0"/>
                  </a:lnTo>
                  <a:lnTo>
                    <a:pt x="419" y="645"/>
                  </a:lnTo>
                  <a:lnTo>
                    <a:pt x="213" y="645"/>
                  </a:lnTo>
                  <a:lnTo>
                    <a:pt x="0" y="0"/>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43" name="Freeform 14">
              <a:extLst>
                <a:ext uri="{FF2B5EF4-FFF2-40B4-BE49-F238E27FC236}">
                  <a16:creationId xmlns:a16="http://schemas.microsoft.com/office/drawing/2014/main" id="{481FE757-1FA8-48AB-BF72-DF393E4A3A65}"/>
                </a:ext>
              </a:extLst>
            </p:cNvPr>
            <p:cNvSpPr>
              <a:spLocks/>
            </p:cNvSpPr>
            <p:nvPr/>
          </p:nvSpPr>
          <p:spPr bwMode="auto">
            <a:xfrm>
              <a:off x="279400" y="2781300"/>
              <a:ext cx="1295400" cy="1092200"/>
            </a:xfrm>
            <a:custGeom>
              <a:avLst/>
              <a:gdLst>
                <a:gd name="T0" fmla="*/ 4 w 115"/>
                <a:gd name="T1" fmla="*/ 42 h 96"/>
                <a:gd name="T2" fmla="*/ 0 w 115"/>
                <a:gd name="T3" fmla="*/ 33 h 96"/>
                <a:gd name="T4" fmla="*/ 4 w 115"/>
                <a:gd name="T5" fmla="*/ 23 h 96"/>
                <a:gd name="T6" fmla="*/ 22 w 115"/>
                <a:gd name="T7" fmla="*/ 4 h 96"/>
                <a:gd name="T8" fmla="*/ 32 w 115"/>
                <a:gd name="T9" fmla="*/ 0 h 96"/>
                <a:gd name="T10" fmla="*/ 42 w 115"/>
                <a:gd name="T11" fmla="*/ 4 h 96"/>
                <a:gd name="T12" fmla="*/ 58 w 115"/>
                <a:gd name="T13" fmla="*/ 20 h 96"/>
                <a:gd name="T14" fmla="*/ 73 w 115"/>
                <a:gd name="T15" fmla="*/ 4 h 96"/>
                <a:gd name="T16" fmla="*/ 83 w 115"/>
                <a:gd name="T17" fmla="*/ 0 h 96"/>
                <a:gd name="T18" fmla="*/ 93 w 115"/>
                <a:gd name="T19" fmla="*/ 4 h 96"/>
                <a:gd name="T20" fmla="*/ 111 w 115"/>
                <a:gd name="T21" fmla="*/ 23 h 96"/>
                <a:gd name="T22" fmla="*/ 115 w 115"/>
                <a:gd name="T23" fmla="*/ 33 h 96"/>
                <a:gd name="T24" fmla="*/ 111 w 115"/>
                <a:gd name="T25" fmla="*/ 42 h 96"/>
                <a:gd name="T26" fmla="*/ 58 w 115"/>
                <a:gd name="T27" fmla="*/ 96 h 96"/>
                <a:gd name="T28" fmla="*/ 57 w 115"/>
                <a:gd name="T29" fmla="*/ 96 h 96"/>
                <a:gd name="T30" fmla="*/ 4 w 115"/>
                <a:gd name="T31"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 h="96">
                  <a:moveTo>
                    <a:pt x="4" y="42"/>
                  </a:moveTo>
                  <a:cubicBezTo>
                    <a:pt x="1" y="40"/>
                    <a:pt x="0" y="36"/>
                    <a:pt x="0" y="33"/>
                  </a:cubicBezTo>
                  <a:cubicBezTo>
                    <a:pt x="0" y="29"/>
                    <a:pt x="1" y="25"/>
                    <a:pt x="4" y="23"/>
                  </a:cubicBezTo>
                  <a:cubicBezTo>
                    <a:pt x="22" y="4"/>
                    <a:pt x="22" y="4"/>
                    <a:pt x="22" y="4"/>
                  </a:cubicBezTo>
                  <a:cubicBezTo>
                    <a:pt x="25" y="1"/>
                    <a:pt x="29" y="0"/>
                    <a:pt x="32" y="0"/>
                  </a:cubicBezTo>
                  <a:cubicBezTo>
                    <a:pt x="36" y="0"/>
                    <a:pt x="39" y="1"/>
                    <a:pt x="42" y="4"/>
                  </a:cubicBezTo>
                  <a:cubicBezTo>
                    <a:pt x="58" y="20"/>
                    <a:pt x="58" y="20"/>
                    <a:pt x="58" y="20"/>
                  </a:cubicBezTo>
                  <a:cubicBezTo>
                    <a:pt x="73" y="4"/>
                    <a:pt x="73" y="4"/>
                    <a:pt x="73" y="4"/>
                  </a:cubicBezTo>
                  <a:cubicBezTo>
                    <a:pt x="76" y="1"/>
                    <a:pt x="79" y="0"/>
                    <a:pt x="83" y="0"/>
                  </a:cubicBezTo>
                  <a:cubicBezTo>
                    <a:pt x="87" y="0"/>
                    <a:pt x="90" y="1"/>
                    <a:pt x="93" y="4"/>
                  </a:cubicBezTo>
                  <a:cubicBezTo>
                    <a:pt x="111" y="23"/>
                    <a:pt x="111" y="23"/>
                    <a:pt x="111" y="23"/>
                  </a:cubicBezTo>
                  <a:cubicBezTo>
                    <a:pt x="114" y="25"/>
                    <a:pt x="115" y="29"/>
                    <a:pt x="115" y="33"/>
                  </a:cubicBezTo>
                  <a:cubicBezTo>
                    <a:pt x="115" y="36"/>
                    <a:pt x="114" y="40"/>
                    <a:pt x="111" y="42"/>
                  </a:cubicBezTo>
                  <a:cubicBezTo>
                    <a:pt x="58" y="96"/>
                    <a:pt x="58" y="96"/>
                    <a:pt x="58" y="96"/>
                  </a:cubicBezTo>
                  <a:cubicBezTo>
                    <a:pt x="57" y="96"/>
                    <a:pt x="57" y="96"/>
                    <a:pt x="57" y="96"/>
                  </a:cubicBezTo>
                  <a:lnTo>
                    <a:pt x="4" y="42"/>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grpSp>
      <p:grpSp>
        <p:nvGrpSpPr>
          <p:cNvPr id="44" name="Group 43"/>
          <p:cNvGrpSpPr/>
          <p:nvPr userDrawn="1"/>
        </p:nvGrpSpPr>
        <p:grpSpPr>
          <a:xfrm>
            <a:off x="504316" y="5402513"/>
            <a:ext cx="1930419" cy="1067172"/>
            <a:chOff x="7526204" y="2289887"/>
            <a:chExt cx="3108960" cy="1718692"/>
          </a:xfrm>
        </p:grpSpPr>
        <p:grpSp>
          <p:nvGrpSpPr>
            <p:cNvPr id="45" name="Group 44"/>
            <p:cNvGrpSpPr>
              <a:grpSpLocks noChangeAspect="1"/>
            </p:cNvGrpSpPr>
            <p:nvPr/>
          </p:nvGrpSpPr>
          <p:grpSpPr>
            <a:xfrm>
              <a:off x="8070916" y="2865025"/>
              <a:ext cx="2148840" cy="827025"/>
              <a:chOff x="-2522495" y="1678245"/>
              <a:chExt cx="2126771" cy="818532"/>
            </a:xfrm>
          </p:grpSpPr>
          <p:sp>
            <p:nvSpPr>
              <p:cNvPr id="47" name="TextBox 46"/>
              <p:cNvSpPr txBox="1">
                <a:spLocks/>
              </p:cNvSpPr>
              <p:nvPr/>
            </p:nvSpPr>
            <p:spPr>
              <a:xfrm>
                <a:off x="-2130523" y="1678245"/>
                <a:ext cx="486642" cy="382152"/>
              </a:xfrm>
              <a:custGeom>
                <a:avLst/>
                <a:gdLst/>
                <a:ahLst/>
                <a:cxnLst/>
                <a:rect l="l" t="t" r="r" b="b"/>
                <a:pathLst>
                  <a:path w="486642" h="382152">
                    <a:moveTo>
                      <a:pt x="150943" y="0"/>
                    </a:moveTo>
                    <a:cubicBezTo>
                      <a:pt x="191582" y="0"/>
                      <a:pt x="224490" y="12368"/>
                      <a:pt x="232082" y="39810"/>
                    </a:cubicBezTo>
                    <a:lnTo>
                      <a:pt x="232262" y="41192"/>
                    </a:lnTo>
                    <a:lnTo>
                      <a:pt x="244394" y="27828"/>
                    </a:lnTo>
                    <a:cubicBezTo>
                      <a:pt x="265912" y="9086"/>
                      <a:pt x="296328" y="0"/>
                      <a:pt x="331918" y="0"/>
                    </a:cubicBezTo>
                    <a:cubicBezTo>
                      <a:pt x="355140" y="0"/>
                      <a:pt x="375838" y="4038"/>
                      <a:pt x="390730" y="12620"/>
                    </a:cubicBezTo>
                    <a:lnTo>
                      <a:pt x="399550" y="19037"/>
                    </a:lnTo>
                    <a:lnTo>
                      <a:pt x="415123" y="9213"/>
                    </a:lnTo>
                    <a:cubicBezTo>
                      <a:pt x="421204" y="6846"/>
                      <a:pt x="427956" y="5553"/>
                      <a:pt x="435150" y="5553"/>
                    </a:cubicBezTo>
                    <a:cubicBezTo>
                      <a:pt x="464430" y="5553"/>
                      <a:pt x="486642" y="26250"/>
                      <a:pt x="486642" y="53511"/>
                    </a:cubicBezTo>
                    <a:cubicBezTo>
                      <a:pt x="486642" y="80772"/>
                      <a:pt x="464430" y="101974"/>
                      <a:pt x="435150" y="101974"/>
                    </a:cubicBezTo>
                    <a:cubicBezTo>
                      <a:pt x="420763" y="101974"/>
                      <a:pt x="408142" y="96674"/>
                      <a:pt x="399118" y="87965"/>
                    </a:cubicBezTo>
                    <a:lnTo>
                      <a:pt x="397141" y="85099"/>
                    </a:lnTo>
                    <a:lnTo>
                      <a:pt x="387023" y="90979"/>
                    </a:lnTo>
                    <a:cubicBezTo>
                      <a:pt x="381675" y="92887"/>
                      <a:pt x="375838" y="93897"/>
                      <a:pt x="369780" y="93897"/>
                    </a:cubicBezTo>
                    <a:cubicBezTo>
                      <a:pt x="355140" y="93897"/>
                      <a:pt x="342015" y="89354"/>
                      <a:pt x="335452" y="81781"/>
                    </a:cubicBezTo>
                    <a:cubicBezTo>
                      <a:pt x="350092" y="78247"/>
                      <a:pt x="359179" y="66132"/>
                      <a:pt x="359179" y="42910"/>
                    </a:cubicBezTo>
                    <a:cubicBezTo>
                      <a:pt x="359179" y="22717"/>
                      <a:pt x="350597" y="8077"/>
                      <a:pt x="331918" y="8077"/>
                    </a:cubicBezTo>
                    <a:cubicBezTo>
                      <a:pt x="308696" y="8077"/>
                      <a:pt x="300619" y="29784"/>
                      <a:pt x="300619" y="58054"/>
                    </a:cubicBezTo>
                    <a:lnTo>
                      <a:pt x="300619" y="132264"/>
                    </a:lnTo>
                    <a:lnTo>
                      <a:pt x="363217" y="132264"/>
                    </a:lnTo>
                    <a:lnTo>
                      <a:pt x="360693" y="144884"/>
                    </a:lnTo>
                    <a:lnTo>
                      <a:pt x="300619" y="144884"/>
                    </a:lnTo>
                    <a:lnTo>
                      <a:pt x="300619" y="327126"/>
                    </a:lnTo>
                    <a:cubicBezTo>
                      <a:pt x="300619" y="360445"/>
                      <a:pt x="312230" y="369027"/>
                      <a:pt x="339490" y="381142"/>
                    </a:cubicBezTo>
                    <a:lnTo>
                      <a:pt x="339490" y="382152"/>
                    </a:lnTo>
                    <a:lnTo>
                      <a:pt x="186529" y="382152"/>
                    </a:lnTo>
                    <a:lnTo>
                      <a:pt x="186529" y="381142"/>
                    </a:lnTo>
                    <a:cubicBezTo>
                      <a:pt x="208741" y="367007"/>
                      <a:pt x="210255" y="360445"/>
                      <a:pt x="210255" y="327126"/>
                    </a:cubicBezTo>
                    <a:lnTo>
                      <a:pt x="210255" y="144884"/>
                    </a:lnTo>
                    <a:lnTo>
                      <a:pt x="180976" y="144884"/>
                    </a:lnTo>
                    <a:lnTo>
                      <a:pt x="180976" y="139331"/>
                    </a:lnTo>
                    <a:lnTo>
                      <a:pt x="210255" y="128225"/>
                    </a:lnTo>
                    <a:lnTo>
                      <a:pt x="210255" y="113585"/>
                    </a:lnTo>
                    <a:lnTo>
                      <a:pt x="212504" y="87227"/>
                    </a:lnTo>
                    <a:lnTo>
                      <a:pt x="206048" y="90979"/>
                    </a:lnTo>
                    <a:cubicBezTo>
                      <a:pt x="200700" y="92887"/>
                      <a:pt x="194863" y="93897"/>
                      <a:pt x="188805" y="93897"/>
                    </a:cubicBezTo>
                    <a:cubicBezTo>
                      <a:pt x="174165" y="93897"/>
                      <a:pt x="161040" y="89354"/>
                      <a:pt x="154477" y="81781"/>
                    </a:cubicBezTo>
                    <a:cubicBezTo>
                      <a:pt x="169117" y="78247"/>
                      <a:pt x="178204" y="66132"/>
                      <a:pt x="178204" y="42910"/>
                    </a:cubicBezTo>
                    <a:cubicBezTo>
                      <a:pt x="178204" y="22717"/>
                      <a:pt x="169622" y="8077"/>
                      <a:pt x="150943" y="8077"/>
                    </a:cubicBezTo>
                    <a:cubicBezTo>
                      <a:pt x="127721" y="8077"/>
                      <a:pt x="119644" y="29784"/>
                      <a:pt x="119644" y="58054"/>
                    </a:cubicBezTo>
                    <a:lnTo>
                      <a:pt x="119644" y="132264"/>
                    </a:lnTo>
                    <a:lnTo>
                      <a:pt x="182242" y="132264"/>
                    </a:lnTo>
                    <a:lnTo>
                      <a:pt x="179718" y="144884"/>
                    </a:lnTo>
                    <a:lnTo>
                      <a:pt x="119644" y="144884"/>
                    </a:lnTo>
                    <a:lnTo>
                      <a:pt x="119644" y="327126"/>
                    </a:lnTo>
                    <a:cubicBezTo>
                      <a:pt x="119644" y="360445"/>
                      <a:pt x="131255" y="369027"/>
                      <a:pt x="158516" y="381142"/>
                    </a:cubicBezTo>
                    <a:lnTo>
                      <a:pt x="158516" y="382152"/>
                    </a:lnTo>
                    <a:lnTo>
                      <a:pt x="5554" y="382152"/>
                    </a:lnTo>
                    <a:lnTo>
                      <a:pt x="5554" y="381142"/>
                    </a:lnTo>
                    <a:cubicBezTo>
                      <a:pt x="27766" y="367007"/>
                      <a:pt x="29280" y="360445"/>
                      <a:pt x="29280" y="327126"/>
                    </a:cubicBezTo>
                    <a:lnTo>
                      <a:pt x="29280" y="144884"/>
                    </a:lnTo>
                    <a:lnTo>
                      <a:pt x="0" y="144884"/>
                    </a:lnTo>
                    <a:lnTo>
                      <a:pt x="0" y="139331"/>
                    </a:lnTo>
                    <a:lnTo>
                      <a:pt x="29280" y="128225"/>
                    </a:lnTo>
                    <a:lnTo>
                      <a:pt x="29280" y="113585"/>
                    </a:lnTo>
                    <a:cubicBezTo>
                      <a:pt x="29280" y="36347"/>
                      <a:pt x="79763" y="0"/>
                      <a:pt x="15094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endParaRPr>
              </a:p>
            </p:txBody>
          </p:sp>
          <p:sp>
            <p:nvSpPr>
              <p:cNvPr id="48" name="TextBox 47"/>
              <p:cNvSpPr txBox="1">
                <a:spLocks/>
              </p:cNvSpPr>
              <p:nvPr/>
            </p:nvSpPr>
            <p:spPr>
              <a:xfrm>
                <a:off x="-2522495" y="1701971"/>
                <a:ext cx="362969" cy="363474"/>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endParaRPr>
              </a:p>
            </p:txBody>
          </p:sp>
          <p:sp>
            <p:nvSpPr>
              <p:cNvPr id="49" name="TextBox 48"/>
              <p:cNvSpPr txBox="1">
                <a:spLocks/>
              </p:cNvSpPr>
              <p:nvPr/>
            </p:nvSpPr>
            <p:spPr>
              <a:xfrm>
                <a:off x="-1602104" y="1805461"/>
                <a:ext cx="245345" cy="259984"/>
              </a:xfrm>
              <a:custGeom>
                <a:avLst/>
                <a:gdLst/>
                <a:ahLst/>
                <a:cxnLst/>
                <a:rect l="l" t="t" r="r" b="b"/>
                <a:pathLst>
                  <a:path w="245345" h="259984">
                    <a:moveTo>
                      <a:pt x="144885" y="0"/>
                    </a:moveTo>
                    <a:cubicBezTo>
                      <a:pt x="199406" y="0"/>
                      <a:pt x="240297" y="23726"/>
                      <a:pt x="240297" y="65122"/>
                    </a:cubicBezTo>
                    <a:cubicBezTo>
                      <a:pt x="240297" y="95411"/>
                      <a:pt x="217075" y="111061"/>
                      <a:pt x="192843" y="111061"/>
                    </a:cubicBezTo>
                    <a:cubicBezTo>
                      <a:pt x="166087" y="111061"/>
                      <a:pt x="150438" y="96421"/>
                      <a:pt x="148923" y="81781"/>
                    </a:cubicBezTo>
                    <a:cubicBezTo>
                      <a:pt x="151952" y="82791"/>
                      <a:pt x="155486" y="83296"/>
                      <a:pt x="158010" y="83296"/>
                    </a:cubicBezTo>
                    <a:cubicBezTo>
                      <a:pt x="176689" y="83296"/>
                      <a:pt x="184261" y="67646"/>
                      <a:pt x="184261" y="48463"/>
                    </a:cubicBezTo>
                    <a:cubicBezTo>
                      <a:pt x="184261" y="24231"/>
                      <a:pt x="171136" y="8582"/>
                      <a:pt x="145894" y="8582"/>
                    </a:cubicBezTo>
                    <a:cubicBezTo>
                      <a:pt x="110557" y="8582"/>
                      <a:pt x="93897" y="54016"/>
                      <a:pt x="93897" y="112575"/>
                    </a:cubicBezTo>
                    <a:cubicBezTo>
                      <a:pt x="93897" y="181737"/>
                      <a:pt x="124692" y="218589"/>
                      <a:pt x="171640" y="218589"/>
                    </a:cubicBezTo>
                    <a:cubicBezTo>
                      <a:pt x="200415" y="218589"/>
                      <a:pt x="226666" y="204958"/>
                      <a:pt x="242316" y="173659"/>
                    </a:cubicBezTo>
                    <a:lnTo>
                      <a:pt x="245345" y="175174"/>
                    </a:lnTo>
                    <a:cubicBezTo>
                      <a:pt x="231210" y="229190"/>
                      <a:pt x="185775" y="259984"/>
                      <a:pt x="129740" y="259984"/>
                    </a:cubicBezTo>
                    <a:cubicBezTo>
                      <a:pt x="60074" y="259984"/>
                      <a:pt x="0" y="213036"/>
                      <a:pt x="0" y="134788"/>
                    </a:cubicBezTo>
                    <a:cubicBezTo>
                      <a:pt x="0" y="49977"/>
                      <a:pt x="63608" y="0"/>
                      <a:pt x="144885"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endParaRPr>
              </a:p>
            </p:txBody>
          </p:sp>
          <p:sp>
            <p:nvSpPr>
              <p:cNvPr id="50" name="TextBox 49"/>
              <p:cNvSpPr txBox="1">
                <a:spLocks/>
              </p:cNvSpPr>
              <p:nvPr/>
            </p:nvSpPr>
            <p:spPr>
              <a:xfrm>
                <a:off x="-1335404" y="1805461"/>
                <a:ext cx="251908" cy="259984"/>
              </a:xfrm>
              <a:custGeom>
                <a:avLst/>
                <a:gdLst/>
                <a:ahLst/>
                <a:cxnLst/>
                <a:rect l="l" t="t" r="r" b="b"/>
                <a:pathLst>
                  <a:path w="251908" h="259984">
                    <a:moveTo>
                      <a:pt x="132264" y="0"/>
                    </a:moveTo>
                    <a:cubicBezTo>
                      <a:pt x="213541" y="0"/>
                      <a:pt x="251908" y="51996"/>
                      <a:pt x="251908" y="118633"/>
                    </a:cubicBezTo>
                    <a:lnTo>
                      <a:pt x="91373" y="118633"/>
                    </a:lnTo>
                    <a:cubicBezTo>
                      <a:pt x="91373" y="181232"/>
                      <a:pt x="124187" y="218589"/>
                      <a:pt x="172650" y="218589"/>
                    </a:cubicBezTo>
                    <a:cubicBezTo>
                      <a:pt x="203444" y="218589"/>
                      <a:pt x="230200" y="204958"/>
                      <a:pt x="245850" y="173659"/>
                    </a:cubicBezTo>
                    <a:lnTo>
                      <a:pt x="249383" y="175174"/>
                    </a:lnTo>
                    <a:cubicBezTo>
                      <a:pt x="234744" y="229190"/>
                      <a:pt x="189309" y="259984"/>
                      <a:pt x="131759" y="259984"/>
                    </a:cubicBezTo>
                    <a:cubicBezTo>
                      <a:pt x="59569" y="259984"/>
                      <a:pt x="0" y="212531"/>
                      <a:pt x="0" y="130244"/>
                    </a:cubicBezTo>
                    <a:cubicBezTo>
                      <a:pt x="0" y="50987"/>
                      <a:pt x="60074" y="0"/>
                      <a:pt x="132264" y="0"/>
                    </a:cubicBezTo>
                    <a:close/>
                    <a:moveTo>
                      <a:pt x="132264" y="8582"/>
                    </a:moveTo>
                    <a:cubicBezTo>
                      <a:pt x="106013" y="8582"/>
                      <a:pt x="92888" y="48463"/>
                      <a:pt x="91878" y="108032"/>
                    </a:cubicBezTo>
                    <a:lnTo>
                      <a:pt x="165078" y="108032"/>
                    </a:lnTo>
                    <a:cubicBezTo>
                      <a:pt x="165078" y="51492"/>
                      <a:pt x="161039" y="8582"/>
                      <a:pt x="132264" y="8582"/>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endParaRPr>
              </a:p>
            </p:txBody>
          </p:sp>
          <p:sp>
            <p:nvSpPr>
              <p:cNvPr id="51" name="TextBox 50"/>
              <p:cNvSpPr txBox="1">
                <a:spLocks/>
              </p:cNvSpPr>
              <p:nvPr/>
            </p:nvSpPr>
            <p:spPr>
              <a:xfrm>
                <a:off x="-1766048" y="1810509"/>
                <a:ext cx="140846" cy="249888"/>
              </a:xfrm>
              <a:custGeom>
                <a:avLst/>
                <a:gdLst/>
                <a:ahLst/>
                <a:cxnLst/>
                <a:rect l="l" t="t" r="r" b="b"/>
                <a:pathLst>
                  <a:path w="140846" h="249888">
                    <a:moveTo>
                      <a:pt x="0" y="0"/>
                    </a:moveTo>
                    <a:lnTo>
                      <a:pt x="117119" y="0"/>
                    </a:lnTo>
                    <a:lnTo>
                      <a:pt x="117119" y="194862"/>
                    </a:lnTo>
                    <a:cubicBezTo>
                      <a:pt x="117119" y="228181"/>
                      <a:pt x="118633" y="234743"/>
                      <a:pt x="140846" y="248878"/>
                    </a:cubicBezTo>
                    <a:lnTo>
                      <a:pt x="140846" y="249888"/>
                    </a:lnTo>
                    <a:lnTo>
                      <a:pt x="3029" y="249888"/>
                    </a:lnTo>
                    <a:lnTo>
                      <a:pt x="3029" y="248878"/>
                    </a:lnTo>
                    <a:cubicBezTo>
                      <a:pt x="25241" y="234743"/>
                      <a:pt x="26755" y="228181"/>
                      <a:pt x="26755" y="194862"/>
                    </a:cubicBezTo>
                    <a:lnTo>
                      <a:pt x="26755" y="56035"/>
                    </a:lnTo>
                    <a:cubicBezTo>
                      <a:pt x="26755" y="21707"/>
                      <a:pt x="23726" y="14640"/>
                      <a:pt x="0" y="1009"/>
                    </a:cubicBez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endParaRPr>
              </a:p>
            </p:txBody>
          </p:sp>
          <p:sp>
            <p:nvSpPr>
              <p:cNvPr id="52" name="TextBox 51"/>
              <p:cNvSpPr txBox="1">
                <a:spLocks/>
              </p:cNvSpPr>
              <p:nvPr/>
            </p:nvSpPr>
            <p:spPr>
              <a:xfrm>
                <a:off x="-1501643" y="2133303"/>
                <a:ext cx="323593" cy="363474"/>
              </a:xfrm>
              <a:custGeom>
                <a:avLst/>
                <a:gdLst/>
                <a:ahLst/>
                <a:cxnLst/>
                <a:rect l="l" t="t" r="r" b="b"/>
                <a:pathLst>
                  <a:path w="323593" h="363474">
                    <a:moveTo>
                      <a:pt x="190319" y="0"/>
                    </a:moveTo>
                    <a:cubicBezTo>
                      <a:pt x="236258" y="0"/>
                      <a:pt x="260994" y="15145"/>
                      <a:pt x="277653" y="15145"/>
                    </a:cubicBezTo>
                    <a:cubicBezTo>
                      <a:pt x="291284" y="15145"/>
                      <a:pt x="299866" y="9087"/>
                      <a:pt x="310467" y="0"/>
                    </a:cubicBezTo>
                    <a:lnTo>
                      <a:pt x="314001" y="120149"/>
                    </a:lnTo>
                    <a:lnTo>
                      <a:pt x="312991" y="120149"/>
                    </a:lnTo>
                    <a:cubicBezTo>
                      <a:pt x="287750" y="56541"/>
                      <a:pt x="250393" y="11107"/>
                      <a:pt x="199910" y="11107"/>
                    </a:cubicBezTo>
                    <a:cubicBezTo>
                      <a:pt x="137312" y="11107"/>
                      <a:pt x="101974" y="80268"/>
                      <a:pt x="101974" y="164573"/>
                    </a:cubicBezTo>
                    <a:cubicBezTo>
                      <a:pt x="101974" y="260490"/>
                      <a:pt x="155486" y="315011"/>
                      <a:pt x="221113" y="315011"/>
                    </a:cubicBezTo>
                    <a:cubicBezTo>
                      <a:pt x="263014" y="315011"/>
                      <a:pt x="297846" y="300371"/>
                      <a:pt x="320564" y="252918"/>
                    </a:cubicBezTo>
                    <a:lnTo>
                      <a:pt x="323593" y="253927"/>
                    </a:lnTo>
                    <a:cubicBezTo>
                      <a:pt x="306428" y="321574"/>
                      <a:pt x="252412" y="363474"/>
                      <a:pt x="173660" y="363474"/>
                    </a:cubicBezTo>
                    <a:cubicBezTo>
                      <a:pt x="74209" y="363474"/>
                      <a:pt x="0" y="293304"/>
                      <a:pt x="0" y="186786"/>
                    </a:cubicBezTo>
                    <a:cubicBezTo>
                      <a:pt x="0" y="76229"/>
                      <a:pt x="85820" y="0"/>
                      <a:pt x="190319"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endParaRPr>
              </a:p>
            </p:txBody>
          </p:sp>
          <p:sp>
            <p:nvSpPr>
              <p:cNvPr id="53" name="TextBox 52"/>
              <p:cNvSpPr txBox="1">
                <a:spLocks/>
              </p:cNvSpPr>
              <p:nvPr/>
            </p:nvSpPr>
            <p:spPr>
              <a:xfrm>
                <a:off x="-758693" y="2133303"/>
                <a:ext cx="362969" cy="363474"/>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endParaRPr>
              </a:p>
            </p:txBody>
          </p:sp>
          <p:sp>
            <p:nvSpPr>
              <p:cNvPr id="54" name="TextBox 53"/>
              <p:cNvSpPr txBox="1">
                <a:spLocks/>
              </p:cNvSpPr>
              <p:nvPr/>
            </p:nvSpPr>
            <p:spPr>
              <a:xfrm>
                <a:off x="-1156286" y="2133808"/>
                <a:ext cx="373571" cy="357921"/>
              </a:xfrm>
              <a:custGeom>
                <a:avLst/>
                <a:gdLst/>
                <a:ahLst/>
                <a:cxnLst/>
                <a:rect l="l" t="t" r="r" b="b"/>
                <a:pathLst>
                  <a:path w="373571" h="357921">
                    <a:moveTo>
                      <a:pt x="17164" y="0"/>
                    </a:moveTo>
                    <a:cubicBezTo>
                      <a:pt x="24232" y="3534"/>
                      <a:pt x="35338" y="4544"/>
                      <a:pt x="52502" y="4544"/>
                    </a:cubicBezTo>
                    <a:lnTo>
                      <a:pt x="321069" y="4544"/>
                    </a:lnTo>
                    <a:cubicBezTo>
                      <a:pt x="338233" y="4544"/>
                      <a:pt x="349339" y="3534"/>
                      <a:pt x="356407" y="0"/>
                    </a:cubicBezTo>
                    <a:lnTo>
                      <a:pt x="373571" y="119644"/>
                    </a:lnTo>
                    <a:lnTo>
                      <a:pt x="372561" y="119644"/>
                    </a:lnTo>
                    <a:cubicBezTo>
                      <a:pt x="329651" y="50988"/>
                      <a:pt x="309963" y="17669"/>
                      <a:pt x="255946" y="17669"/>
                    </a:cubicBezTo>
                    <a:lnTo>
                      <a:pt x="234239" y="17669"/>
                    </a:lnTo>
                    <a:lnTo>
                      <a:pt x="234239" y="297847"/>
                    </a:lnTo>
                    <a:cubicBezTo>
                      <a:pt x="234239" y="331165"/>
                      <a:pt x="240802" y="342272"/>
                      <a:pt x="263014" y="356912"/>
                    </a:cubicBezTo>
                    <a:lnTo>
                      <a:pt x="263014" y="357921"/>
                    </a:lnTo>
                    <a:lnTo>
                      <a:pt x="110557" y="357921"/>
                    </a:lnTo>
                    <a:lnTo>
                      <a:pt x="110557" y="356912"/>
                    </a:lnTo>
                    <a:cubicBezTo>
                      <a:pt x="133274" y="342272"/>
                      <a:pt x="139332" y="331165"/>
                      <a:pt x="139332" y="297847"/>
                    </a:cubicBezTo>
                    <a:lnTo>
                      <a:pt x="139332" y="17669"/>
                    </a:lnTo>
                    <a:lnTo>
                      <a:pt x="117624" y="17669"/>
                    </a:lnTo>
                    <a:cubicBezTo>
                      <a:pt x="63608" y="17669"/>
                      <a:pt x="43920" y="50988"/>
                      <a:pt x="1010" y="119644"/>
                    </a:cubicBezTo>
                    <a:lnTo>
                      <a:pt x="0" y="119644"/>
                    </a:lnTo>
                    <a:lnTo>
                      <a:pt x="17164"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endParaRPr>
              </a:p>
            </p:txBody>
          </p:sp>
          <p:sp>
            <p:nvSpPr>
              <p:cNvPr id="55" name="TextBox 54"/>
              <p:cNvSpPr txBox="1">
                <a:spLocks/>
              </p:cNvSpPr>
              <p:nvPr/>
            </p:nvSpPr>
            <p:spPr>
              <a:xfrm>
                <a:off x="-2145704" y="2148039"/>
                <a:ext cx="130738" cy="132991"/>
              </a:xfrm>
              <a:custGeom>
                <a:avLst/>
                <a:gdLst/>
                <a:ahLst/>
                <a:cxnLst/>
                <a:rect l="l" t="t" r="r" b="b"/>
                <a:pathLst>
                  <a:path w="130738" h="132991">
                    <a:moveTo>
                      <a:pt x="65709" y="0"/>
                    </a:moveTo>
                    <a:cubicBezTo>
                      <a:pt x="86122" y="0"/>
                      <a:pt x="102063" y="5891"/>
                      <a:pt x="113533" y="17673"/>
                    </a:cubicBezTo>
                    <a:cubicBezTo>
                      <a:pt x="125003" y="29455"/>
                      <a:pt x="130738" y="45715"/>
                      <a:pt x="130738" y="66451"/>
                    </a:cubicBezTo>
                    <a:cubicBezTo>
                      <a:pt x="130738" y="87129"/>
                      <a:pt x="124987" y="103389"/>
                      <a:pt x="113485" y="115230"/>
                    </a:cubicBezTo>
                    <a:cubicBezTo>
                      <a:pt x="101982" y="127071"/>
                      <a:pt x="85992" y="132991"/>
                      <a:pt x="65515" y="132991"/>
                    </a:cubicBezTo>
                    <a:cubicBezTo>
                      <a:pt x="44584" y="132991"/>
                      <a:pt x="28432" y="127174"/>
                      <a:pt x="17059" y="115539"/>
                    </a:cubicBezTo>
                    <a:cubicBezTo>
                      <a:pt x="5686" y="103904"/>
                      <a:pt x="0" y="87483"/>
                      <a:pt x="0" y="66275"/>
                    </a:cubicBezTo>
                    <a:cubicBezTo>
                      <a:pt x="0" y="45243"/>
                      <a:pt x="5702" y="28940"/>
                      <a:pt x="17107" y="17364"/>
                    </a:cubicBezTo>
                    <a:cubicBezTo>
                      <a:pt x="28513" y="5788"/>
                      <a:pt x="44713" y="0"/>
                      <a:pt x="65709" y="0"/>
                    </a:cubicBezTo>
                    <a:close/>
                    <a:moveTo>
                      <a:pt x="65709" y="13431"/>
                    </a:moveTo>
                    <a:cubicBezTo>
                      <a:pt x="49962" y="13431"/>
                      <a:pt x="37990" y="17953"/>
                      <a:pt x="29793" y="26996"/>
                    </a:cubicBezTo>
                    <a:cubicBezTo>
                      <a:pt x="21595" y="36038"/>
                      <a:pt x="17496" y="49190"/>
                      <a:pt x="17496" y="66451"/>
                    </a:cubicBezTo>
                    <a:cubicBezTo>
                      <a:pt x="17496" y="83948"/>
                      <a:pt x="21595" y="97218"/>
                      <a:pt x="29793" y="106261"/>
                    </a:cubicBezTo>
                    <a:cubicBezTo>
                      <a:pt x="37990" y="115303"/>
                      <a:pt x="49897" y="119825"/>
                      <a:pt x="65515" y="119825"/>
                    </a:cubicBezTo>
                    <a:cubicBezTo>
                      <a:pt x="81262" y="119825"/>
                      <a:pt x="93153" y="115318"/>
                      <a:pt x="101188" y="106305"/>
                    </a:cubicBezTo>
                    <a:cubicBezTo>
                      <a:pt x="109224" y="97291"/>
                      <a:pt x="113242" y="84007"/>
                      <a:pt x="113242" y="66451"/>
                    </a:cubicBezTo>
                    <a:cubicBezTo>
                      <a:pt x="113242" y="49073"/>
                      <a:pt x="109240" y="35891"/>
                      <a:pt x="101237" y="26907"/>
                    </a:cubicBezTo>
                    <a:cubicBezTo>
                      <a:pt x="93234" y="17923"/>
                      <a:pt x="81391" y="13431"/>
                      <a:pt x="65709" y="13431"/>
                    </a:cubicBez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3"/>
                  </a:solidFill>
                  <a:latin typeface="Arial" panose="020B0604020202020204" pitchFamily="34" charset="0"/>
                  <a:ea typeface="Domaine Display" charset="0"/>
                  <a:cs typeface="Arial" panose="020B0604020202020204" pitchFamily="34" charset="0"/>
                </a:endParaRPr>
              </a:p>
            </p:txBody>
          </p:sp>
          <p:sp>
            <p:nvSpPr>
              <p:cNvPr id="56" name="TextBox 55"/>
              <p:cNvSpPr txBox="1">
                <a:spLocks/>
              </p:cNvSpPr>
              <p:nvPr/>
            </p:nvSpPr>
            <p:spPr>
              <a:xfrm>
                <a:off x="-1995442" y="2150070"/>
                <a:ext cx="79221" cy="129192"/>
              </a:xfrm>
              <a:custGeom>
                <a:avLst/>
                <a:gdLst/>
                <a:ahLst/>
                <a:cxnLst/>
                <a:rect l="l" t="t" r="r" b="b"/>
                <a:pathLst>
                  <a:path w="79221" h="129192">
                    <a:moveTo>
                      <a:pt x="0" y="0"/>
                    </a:moveTo>
                    <a:lnTo>
                      <a:pt x="79221" y="0"/>
                    </a:lnTo>
                    <a:lnTo>
                      <a:pt x="79221" y="13343"/>
                    </a:lnTo>
                    <a:lnTo>
                      <a:pt x="16525" y="13343"/>
                    </a:lnTo>
                    <a:lnTo>
                      <a:pt x="16525" y="60620"/>
                    </a:lnTo>
                    <a:lnTo>
                      <a:pt x="75430" y="60620"/>
                    </a:lnTo>
                    <a:lnTo>
                      <a:pt x="75430" y="73963"/>
                    </a:lnTo>
                    <a:lnTo>
                      <a:pt x="16525" y="73963"/>
                    </a:lnTo>
                    <a:lnTo>
                      <a:pt x="16525" y="129192"/>
                    </a:lnTo>
                    <a:lnTo>
                      <a:pt x="0" y="129192"/>
                    </a:lnTo>
                    <a:lnTo>
                      <a:pt x="0" y="0"/>
                    </a:ln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3"/>
                  </a:solidFill>
                  <a:latin typeface="Arial" panose="020B0604020202020204" pitchFamily="34" charset="0"/>
                  <a:ea typeface="Domaine Display" charset="0"/>
                  <a:cs typeface="Arial" panose="020B0604020202020204" pitchFamily="34" charset="0"/>
                </a:endParaRPr>
              </a:p>
            </p:txBody>
          </p:sp>
          <p:sp>
            <p:nvSpPr>
              <p:cNvPr id="57" name="TextBox 56"/>
              <p:cNvSpPr txBox="1">
                <a:spLocks/>
              </p:cNvSpPr>
              <p:nvPr/>
            </p:nvSpPr>
            <p:spPr>
              <a:xfrm>
                <a:off x="-1879880" y="2150070"/>
                <a:ext cx="106535" cy="129192"/>
              </a:xfrm>
              <a:custGeom>
                <a:avLst/>
                <a:gdLst/>
                <a:ahLst/>
                <a:cxnLst/>
                <a:rect l="l" t="t" r="r" b="b"/>
                <a:pathLst>
                  <a:path w="106535" h="129192">
                    <a:moveTo>
                      <a:pt x="0" y="0"/>
                    </a:moveTo>
                    <a:lnTo>
                      <a:pt x="106535" y="0"/>
                    </a:lnTo>
                    <a:lnTo>
                      <a:pt x="106535" y="13343"/>
                    </a:lnTo>
                    <a:lnTo>
                      <a:pt x="61530" y="13343"/>
                    </a:lnTo>
                    <a:lnTo>
                      <a:pt x="61530" y="129192"/>
                    </a:lnTo>
                    <a:lnTo>
                      <a:pt x="45005" y="129192"/>
                    </a:lnTo>
                    <a:lnTo>
                      <a:pt x="45005" y="13343"/>
                    </a:lnTo>
                    <a:lnTo>
                      <a:pt x="0" y="13343"/>
                    </a:lnTo>
                    <a:lnTo>
                      <a:pt x="0" y="0"/>
                    </a:ln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3"/>
                  </a:solidFill>
                  <a:latin typeface="Arial" panose="020B0604020202020204" pitchFamily="34" charset="0"/>
                  <a:ea typeface="Domaine Display" charset="0"/>
                  <a:cs typeface="Arial" panose="020B0604020202020204" pitchFamily="34" charset="0"/>
                </a:endParaRPr>
              </a:p>
            </p:txBody>
          </p:sp>
          <p:sp>
            <p:nvSpPr>
              <p:cNvPr id="58" name="TextBox 57"/>
              <p:cNvSpPr txBox="1">
                <a:spLocks/>
              </p:cNvSpPr>
              <p:nvPr/>
            </p:nvSpPr>
            <p:spPr>
              <a:xfrm>
                <a:off x="-1757317" y="2150070"/>
                <a:ext cx="107896" cy="129192"/>
              </a:xfrm>
              <a:custGeom>
                <a:avLst/>
                <a:gdLst/>
                <a:ahLst/>
                <a:cxnLst/>
                <a:rect l="l" t="t" r="r" b="b"/>
                <a:pathLst>
                  <a:path w="107896" h="129192">
                    <a:moveTo>
                      <a:pt x="0" y="0"/>
                    </a:moveTo>
                    <a:lnTo>
                      <a:pt x="16525" y="0"/>
                    </a:lnTo>
                    <a:lnTo>
                      <a:pt x="16525" y="54964"/>
                    </a:lnTo>
                    <a:lnTo>
                      <a:pt x="91371" y="54964"/>
                    </a:lnTo>
                    <a:lnTo>
                      <a:pt x="91371" y="0"/>
                    </a:lnTo>
                    <a:lnTo>
                      <a:pt x="107896" y="0"/>
                    </a:lnTo>
                    <a:lnTo>
                      <a:pt x="107896" y="129192"/>
                    </a:lnTo>
                    <a:lnTo>
                      <a:pt x="91371" y="129192"/>
                    </a:lnTo>
                    <a:lnTo>
                      <a:pt x="91371" y="68396"/>
                    </a:lnTo>
                    <a:lnTo>
                      <a:pt x="16525" y="68396"/>
                    </a:lnTo>
                    <a:lnTo>
                      <a:pt x="16525" y="129192"/>
                    </a:lnTo>
                    <a:lnTo>
                      <a:pt x="0" y="129192"/>
                    </a:lnTo>
                    <a:lnTo>
                      <a:pt x="0" y="0"/>
                    </a:ln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3"/>
                  </a:solidFill>
                  <a:latin typeface="Arial" panose="020B0604020202020204" pitchFamily="34" charset="0"/>
                  <a:ea typeface="Domaine Display" charset="0"/>
                  <a:cs typeface="Arial" panose="020B0604020202020204" pitchFamily="34" charset="0"/>
                </a:endParaRPr>
              </a:p>
            </p:txBody>
          </p:sp>
          <p:sp>
            <p:nvSpPr>
              <p:cNvPr id="59" name="TextBox 58"/>
              <p:cNvSpPr txBox="1">
                <a:spLocks/>
              </p:cNvSpPr>
              <p:nvPr/>
            </p:nvSpPr>
            <p:spPr>
              <a:xfrm>
                <a:off x="-1623967" y="2150070"/>
                <a:ext cx="79221" cy="129192"/>
              </a:xfrm>
              <a:custGeom>
                <a:avLst/>
                <a:gdLst/>
                <a:ahLst/>
                <a:cxnLst/>
                <a:rect l="l" t="t" r="r" b="b"/>
                <a:pathLst>
                  <a:path w="79221" h="129192">
                    <a:moveTo>
                      <a:pt x="0" y="0"/>
                    </a:moveTo>
                    <a:lnTo>
                      <a:pt x="79221" y="0"/>
                    </a:lnTo>
                    <a:lnTo>
                      <a:pt x="79221" y="13343"/>
                    </a:lnTo>
                    <a:lnTo>
                      <a:pt x="16525" y="13343"/>
                    </a:lnTo>
                    <a:lnTo>
                      <a:pt x="16525" y="54964"/>
                    </a:lnTo>
                    <a:lnTo>
                      <a:pt x="75430" y="54964"/>
                    </a:lnTo>
                    <a:lnTo>
                      <a:pt x="75430" y="68219"/>
                    </a:lnTo>
                    <a:lnTo>
                      <a:pt x="16525" y="68219"/>
                    </a:lnTo>
                    <a:lnTo>
                      <a:pt x="16525" y="115760"/>
                    </a:lnTo>
                    <a:lnTo>
                      <a:pt x="79221" y="115760"/>
                    </a:lnTo>
                    <a:lnTo>
                      <a:pt x="79221" y="129192"/>
                    </a:lnTo>
                    <a:lnTo>
                      <a:pt x="0" y="129192"/>
                    </a:lnTo>
                    <a:lnTo>
                      <a:pt x="0" y="0"/>
                    </a:ln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3"/>
                  </a:solidFill>
                  <a:latin typeface="Arial" panose="020B0604020202020204" pitchFamily="34" charset="0"/>
                  <a:ea typeface="Domaine Display" charset="0"/>
                  <a:cs typeface="Arial" panose="020B0604020202020204" pitchFamily="34" charset="0"/>
                </a:endParaRPr>
              </a:p>
            </p:txBody>
          </p:sp>
        </p:grpSp>
        <p:sp>
          <p:nvSpPr>
            <p:cNvPr id="46" name="Freeform 45"/>
            <p:cNvSpPr>
              <a:spLocks noEditPoints="1"/>
            </p:cNvSpPr>
            <p:nvPr/>
          </p:nvSpPr>
          <p:spPr bwMode="auto">
            <a:xfrm>
              <a:off x="7526204" y="2289887"/>
              <a:ext cx="3108960" cy="1718692"/>
            </a:xfrm>
            <a:custGeom>
              <a:avLst/>
              <a:gdLst>
                <a:gd name="T0" fmla="*/ 279 w 326"/>
                <a:gd name="T1" fmla="*/ 180 h 180"/>
                <a:gd name="T2" fmla="*/ 271 w 326"/>
                <a:gd name="T3" fmla="*/ 179 h 180"/>
                <a:gd name="T4" fmla="*/ 45 w 326"/>
                <a:gd name="T5" fmla="*/ 179 h 180"/>
                <a:gd name="T6" fmla="*/ 6 w 326"/>
                <a:gd name="T7" fmla="*/ 153 h 180"/>
                <a:gd name="T8" fmla="*/ 0 w 326"/>
                <a:gd name="T9" fmla="*/ 129 h 180"/>
                <a:gd name="T10" fmla="*/ 32 w 326"/>
                <a:gd name="T11" fmla="*/ 82 h 180"/>
                <a:gd name="T12" fmla="*/ 30 w 326"/>
                <a:gd name="T13" fmla="*/ 70 h 180"/>
                <a:gd name="T14" fmla="*/ 100 w 326"/>
                <a:gd name="T15" fmla="*/ 0 h 180"/>
                <a:gd name="T16" fmla="*/ 154 w 326"/>
                <a:gd name="T17" fmla="*/ 26 h 180"/>
                <a:gd name="T18" fmla="*/ 187 w 326"/>
                <a:gd name="T19" fmla="*/ 16 h 180"/>
                <a:gd name="T20" fmla="*/ 242 w 326"/>
                <a:gd name="T21" fmla="*/ 55 h 180"/>
                <a:gd name="T22" fmla="*/ 245 w 326"/>
                <a:gd name="T23" fmla="*/ 54 h 180"/>
                <a:gd name="T24" fmla="*/ 280 w 326"/>
                <a:gd name="T25" fmla="*/ 85 h 180"/>
                <a:gd name="T26" fmla="*/ 326 w 326"/>
                <a:gd name="T27" fmla="*/ 132 h 180"/>
                <a:gd name="T28" fmla="*/ 279 w 326"/>
                <a:gd name="T29" fmla="*/ 180 h 180"/>
                <a:gd name="T30" fmla="*/ 100 w 326"/>
                <a:gd name="T31" fmla="*/ 4 h 180"/>
                <a:gd name="T32" fmla="*/ 34 w 326"/>
                <a:gd name="T33" fmla="*/ 70 h 180"/>
                <a:gd name="T34" fmla="*/ 36 w 326"/>
                <a:gd name="T35" fmla="*/ 83 h 180"/>
                <a:gd name="T36" fmla="*/ 36 w 326"/>
                <a:gd name="T37" fmla="*/ 85 h 180"/>
                <a:gd name="T38" fmla="*/ 35 w 326"/>
                <a:gd name="T39" fmla="*/ 86 h 180"/>
                <a:gd name="T40" fmla="*/ 4 w 326"/>
                <a:gd name="T41" fmla="*/ 129 h 180"/>
                <a:gd name="T42" fmla="*/ 10 w 326"/>
                <a:gd name="T43" fmla="*/ 151 h 180"/>
                <a:gd name="T44" fmla="*/ 10 w 326"/>
                <a:gd name="T45" fmla="*/ 151 h 180"/>
                <a:gd name="T46" fmla="*/ 45 w 326"/>
                <a:gd name="T47" fmla="*/ 175 h 180"/>
                <a:gd name="T48" fmla="*/ 271 w 326"/>
                <a:gd name="T49" fmla="*/ 175 h 180"/>
                <a:gd name="T50" fmla="*/ 272 w 326"/>
                <a:gd name="T51" fmla="*/ 175 h 180"/>
                <a:gd name="T52" fmla="*/ 279 w 326"/>
                <a:gd name="T53" fmla="*/ 176 h 180"/>
                <a:gd name="T54" fmla="*/ 322 w 326"/>
                <a:gd name="T55" fmla="*/ 132 h 180"/>
                <a:gd name="T56" fmla="*/ 279 w 326"/>
                <a:gd name="T57" fmla="*/ 89 h 180"/>
                <a:gd name="T58" fmla="*/ 278 w 326"/>
                <a:gd name="T59" fmla="*/ 89 h 180"/>
                <a:gd name="T60" fmla="*/ 276 w 326"/>
                <a:gd name="T61" fmla="*/ 89 h 180"/>
                <a:gd name="T62" fmla="*/ 276 w 326"/>
                <a:gd name="T63" fmla="*/ 87 h 180"/>
                <a:gd name="T64" fmla="*/ 245 w 326"/>
                <a:gd name="T65" fmla="*/ 58 h 180"/>
                <a:gd name="T66" fmla="*/ 240 w 326"/>
                <a:gd name="T67" fmla="*/ 59 h 180"/>
                <a:gd name="T68" fmla="*/ 239 w 326"/>
                <a:gd name="T69" fmla="*/ 59 h 180"/>
                <a:gd name="T70" fmla="*/ 238 w 326"/>
                <a:gd name="T71" fmla="*/ 57 h 180"/>
                <a:gd name="T72" fmla="*/ 187 w 326"/>
                <a:gd name="T73" fmla="*/ 20 h 180"/>
                <a:gd name="T74" fmla="*/ 155 w 326"/>
                <a:gd name="T75" fmla="*/ 30 h 180"/>
                <a:gd name="T76" fmla="*/ 153 w 326"/>
                <a:gd name="T77" fmla="*/ 31 h 180"/>
                <a:gd name="T78" fmla="*/ 152 w 326"/>
                <a:gd name="T79" fmla="*/ 30 h 180"/>
                <a:gd name="T80" fmla="*/ 100 w 326"/>
                <a:gd name="T8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6" h="180">
                  <a:moveTo>
                    <a:pt x="279" y="180"/>
                  </a:moveTo>
                  <a:cubicBezTo>
                    <a:pt x="276" y="180"/>
                    <a:pt x="274" y="179"/>
                    <a:pt x="271" y="179"/>
                  </a:cubicBezTo>
                  <a:cubicBezTo>
                    <a:pt x="45" y="179"/>
                    <a:pt x="45" y="179"/>
                    <a:pt x="45" y="179"/>
                  </a:cubicBezTo>
                  <a:cubicBezTo>
                    <a:pt x="28" y="179"/>
                    <a:pt x="13" y="169"/>
                    <a:pt x="6" y="153"/>
                  </a:cubicBezTo>
                  <a:cubicBezTo>
                    <a:pt x="2" y="146"/>
                    <a:pt x="0" y="137"/>
                    <a:pt x="0" y="129"/>
                  </a:cubicBezTo>
                  <a:cubicBezTo>
                    <a:pt x="0" y="109"/>
                    <a:pt x="13" y="90"/>
                    <a:pt x="32" y="82"/>
                  </a:cubicBezTo>
                  <a:cubicBezTo>
                    <a:pt x="31" y="78"/>
                    <a:pt x="30" y="74"/>
                    <a:pt x="30" y="70"/>
                  </a:cubicBezTo>
                  <a:cubicBezTo>
                    <a:pt x="30" y="32"/>
                    <a:pt x="62" y="0"/>
                    <a:pt x="100" y="0"/>
                  </a:cubicBezTo>
                  <a:cubicBezTo>
                    <a:pt x="121" y="0"/>
                    <a:pt x="141" y="10"/>
                    <a:pt x="154" y="26"/>
                  </a:cubicBezTo>
                  <a:cubicBezTo>
                    <a:pt x="164" y="19"/>
                    <a:pt x="175" y="16"/>
                    <a:pt x="187" y="16"/>
                  </a:cubicBezTo>
                  <a:cubicBezTo>
                    <a:pt x="212" y="16"/>
                    <a:pt x="233" y="31"/>
                    <a:pt x="242" y="55"/>
                  </a:cubicBezTo>
                  <a:cubicBezTo>
                    <a:pt x="243" y="54"/>
                    <a:pt x="244" y="54"/>
                    <a:pt x="245" y="54"/>
                  </a:cubicBezTo>
                  <a:cubicBezTo>
                    <a:pt x="263" y="54"/>
                    <a:pt x="278" y="68"/>
                    <a:pt x="280" y="85"/>
                  </a:cubicBezTo>
                  <a:cubicBezTo>
                    <a:pt x="305" y="86"/>
                    <a:pt x="326" y="107"/>
                    <a:pt x="326" y="132"/>
                  </a:cubicBezTo>
                  <a:cubicBezTo>
                    <a:pt x="326" y="158"/>
                    <a:pt x="305" y="180"/>
                    <a:pt x="279" y="180"/>
                  </a:cubicBezTo>
                  <a:close/>
                  <a:moveTo>
                    <a:pt x="100" y="4"/>
                  </a:moveTo>
                  <a:cubicBezTo>
                    <a:pt x="64" y="4"/>
                    <a:pt x="34" y="34"/>
                    <a:pt x="34" y="70"/>
                  </a:cubicBezTo>
                  <a:cubicBezTo>
                    <a:pt x="34" y="75"/>
                    <a:pt x="35" y="79"/>
                    <a:pt x="36" y="83"/>
                  </a:cubicBezTo>
                  <a:cubicBezTo>
                    <a:pt x="36" y="85"/>
                    <a:pt x="36" y="85"/>
                    <a:pt x="36" y="85"/>
                  </a:cubicBezTo>
                  <a:cubicBezTo>
                    <a:pt x="35" y="86"/>
                    <a:pt x="35" y="86"/>
                    <a:pt x="35" y="86"/>
                  </a:cubicBezTo>
                  <a:cubicBezTo>
                    <a:pt x="16" y="92"/>
                    <a:pt x="4" y="110"/>
                    <a:pt x="4" y="129"/>
                  </a:cubicBezTo>
                  <a:cubicBezTo>
                    <a:pt x="4" y="137"/>
                    <a:pt x="6" y="144"/>
                    <a:pt x="10" y="151"/>
                  </a:cubicBezTo>
                  <a:cubicBezTo>
                    <a:pt x="10" y="151"/>
                    <a:pt x="10" y="151"/>
                    <a:pt x="10" y="151"/>
                  </a:cubicBezTo>
                  <a:cubicBezTo>
                    <a:pt x="16" y="166"/>
                    <a:pt x="30" y="175"/>
                    <a:pt x="45" y="175"/>
                  </a:cubicBezTo>
                  <a:cubicBezTo>
                    <a:pt x="271" y="175"/>
                    <a:pt x="271" y="175"/>
                    <a:pt x="271" y="175"/>
                  </a:cubicBezTo>
                  <a:cubicBezTo>
                    <a:pt x="272" y="175"/>
                    <a:pt x="272" y="175"/>
                    <a:pt x="272" y="175"/>
                  </a:cubicBezTo>
                  <a:cubicBezTo>
                    <a:pt x="274" y="175"/>
                    <a:pt x="276" y="176"/>
                    <a:pt x="279" y="176"/>
                  </a:cubicBezTo>
                  <a:cubicBezTo>
                    <a:pt x="303" y="176"/>
                    <a:pt x="322" y="156"/>
                    <a:pt x="322" y="132"/>
                  </a:cubicBezTo>
                  <a:cubicBezTo>
                    <a:pt x="322" y="109"/>
                    <a:pt x="303" y="89"/>
                    <a:pt x="279" y="89"/>
                  </a:cubicBezTo>
                  <a:cubicBezTo>
                    <a:pt x="279" y="89"/>
                    <a:pt x="278" y="89"/>
                    <a:pt x="278" y="89"/>
                  </a:cubicBezTo>
                  <a:cubicBezTo>
                    <a:pt x="276" y="89"/>
                    <a:pt x="276" y="89"/>
                    <a:pt x="276" y="89"/>
                  </a:cubicBezTo>
                  <a:cubicBezTo>
                    <a:pt x="276" y="87"/>
                    <a:pt x="276" y="87"/>
                    <a:pt x="276" y="87"/>
                  </a:cubicBezTo>
                  <a:cubicBezTo>
                    <a:pt x="275" y="71"/>
                    <a:pt x="261" y="58"/>
                    <a:pt x="245" y="58"/>
                  </a:cubicBezTo>
                  <a:cubicBezTo>
                    <a:pt x="243" y="58"/>
                    <a:pt x="242" y="59"/>
                    <a:pt x="240" y="59"/>
                  </a:cubicBezTo>
                  <a:cubicBezTo>
                    <a:pt x="239" y="59"/>
                    <a:pt x="239" y="59"/>
                    <a:pt x="239" y="59"/>
                  </a:cubicBezTo>
                  <a:cubicBezTo>
                    <a:pt x="238" y="57"/>
                    <a:pt x="238" y="57"/>
                    <a:pt x="238" y="57"/>
                  </a:cubicBezTo>
                  <a:cubicBezTo>
                    <a:pt x="231" y="35"/>
                    <a:pt x="210" y="20"/>
                    <a:pt x="187" y="20"/>
                  </a:cubicBezTo>
                  <a:cubicBezTo>
                    <a:pt x="175" y="20"/>
                    <a:pt x="164" y="23"/>
                    <a:pt x="155" y="30"/>
                  </a:cubicBezTo>
                  <a:cubicBezTo>
                    <a:pt x="153" y="31"/>
                    <a:pt x="153" y="31"/>
                    <a:pt x="153" y="31"/>
                  </a:cubicBezTo>
                  <a:cubicBezTo>
                    <a:pt x="152" y="30"/>
                    <a:pt x="152" y="30"/>
                    <a:pt x="152" y="30"/>
                  </a:cubicBezTo>
                  <a:cubicBezTo>
                    <a:pt x="139" y="14"/>
                    <a:pt x="121" y="4"/>
                    <a:pt x="100" y="4"/>
                  </a:cubicBezTo>
                  <a:close/>
                </a:path>
              </a:pathLst>
            </a:custGeom>
            <a:solidFill>
              <a:srgbClr val="34697F"/>
            </a:solidFill>
            <a:ln>
              <a:noFill/>
            </a:ln>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sp>
        <p:nvSpPr>
          <p:cNvPr id="60" name="Rectangle 59"/>
          <p:cNvSpPr/>
          <p:nvPr userDrawn="1"/>
        </p:nvSpPr>
        <p:spPr>
          <a:xfrm flipH="1">
            <a:off x="-1591" y="4732897"/>
            <a:ext cx="12193589" cy="336177"/>
          </a:xfrm>
          <a:prstGeom prst="rect">
            <a:avLst/>
          </a:prstGeom>
          <a:solidFill>
            <a:srgbClr val="064E6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solidFill>
                <a:schemeClr val="bg2">
                  <a:lumMod val="40000"/>
                  <a:lumOff val="60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963149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Division">
    <p:bg>
      <p:bgPr>
        <a:solidFill>
          <a:srgbClr val="064E69"/>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119093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4" name="think-cell Slide" r:id="rId4" imgW="498" imgH="499" progId="TCLayout.ActiveDocument.1">
                  <p:embed/>
                </p:oleObj>
              </mc:Choice>
              <mc:Fallback>
                <p:oleObj name="think-cell Slide" r:id="rId4" imgW="498" imgH="49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p:cNvSpPr>
            <a:spLocks noChangeAspect="1"/>
          </p:cNvSpPr>
          <p:nvPr/>
        </p:nvSpPr>
        <p:spPr>
          <a:xfrm>
            <a:off x="7751366" y="0"/>
            <a:ext cx="4440634"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1" dirty="0">
              <a:solidFill>
                <a:schemeClr val="accent4"/>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p:cNvSpPr/>
          <p:nvPr/>
        </p:nvSpPr>
        <p:spPr>
          <a:xfrm>
            <a:off x="7629890" y="0"/>
            <a:ext cx="121476" cy="6858000"/>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1" dirty="0">
              <a:latin typeface="Arial" panose="020B0604020202020204" pitchFamily="34" charset="0"/>
              <a:cs typeface="Arial" panose="020B0604020202020204" pitchFamily="34" charset="0"/>
              <a:sym typeface="Arial" panose="020B0604020202020204" pitchFamily="34" charset="0"/>
            </a:endParaRPr>
          </a:p>
        </p:txBody>
      </p:sp>
      <p:grpSp>
        <p:nvGrpSpPr>
          <p:cNvPr id="10" name="Group 9"/>
          <p:cNvGrpSpPr/>
          <p:nvPr userDrawn="1"/>
        </p:nvGrpSpPr>
        <p:grpSpPr>
          <a:xfrm>
            <a:off x="834187" y="5051932"/>
            <a:ext cx="2121961" cy="1172755"/>
            <a:chOff x="834187" y="5007328"/>
            <a:chExt cx="2121961" cy="1172755"/>
          </a:xfrm>
        </p:grpSpPr>
        <p:sp>
          <p:nvSpPr>
            <p:cNvPr id="12" name="TextBox 11"/>
            <p:cNvSpPr txBox="1">
              <a:spLocks/>
            </p:cNvSpPr>
            <p:nvPr/>
          </p:nvSpPr>
          <p:spPr>
            <a:xfrm>
              <a:off x="1476280" y="5399774"/>
              <a:ext cx="335594" cy="263468"/>
            </a:xfrm>
            <a:custGeom>
              <a:avLst/>
              <a:gdLst/>
              <a:ahLst/>
              <a:cxnLst/>
              <a:rect l="l" t="t" r="r" b="b"/>
              <a:pathLst>
                <a:path w="486642" h="382152">
                  <a:moveTo>
                    <a:pt x="150943" y="0"/>
                  </a:moveTo>
                  <a:cubicBezTo>
                    <a:pt x="191582" y="0"/>
                    <a:pt x="224490" y="12368"/>
                    <a:pt x="232082" y="39810"/>
                  </a:cubicBezTo>
                  <a:lnTo>
                    <a:pt x="232262" y="41192"/>
                  </a:lnTo>
                  <a:lnTo>
                    <a:pt x="244394" y="27828"/>
                  </a:lnTo>
                  <a:cubicBezTo>
                    <a:pt x="265912" y="9086"/>
                    <a:pt x="296328" y="0"/>
                    <a:pt x="331918" y="0"/>
                  </a:cubicBezTo>
                  <a:cubicBezTo>
                    <a:pt x="355140" y="0"/>
                    <a:pt x="375838" y="4038"/>
                    <a:pt x="390730" y="12620"/>
                  </a:cubicBezTo>
                  <a:lnTo>
                    <a:pt x="399550" y="19037"/>
                  </a:lnTo>
                  <a:lnTo>
                    <a:pt x="415123" y="9213"/>
                  </a:lnTo>
                  <a:cubicBezTo>
                    <a:pt x="421204" y="6846"/>
                    <a:pt x="427956" y="5553"/>
                    <a:pt x="435150" y="5553"/>
                  </a:cubicBezTo>
                  <a:cubicBezTo>
                    <a:pt x="464430" y="5553"/>
                    <a:pt x="486642" y="26250"/>
                    <a:pt x="486642" y="53511"/>
                  </a:cubicBezTo>
                  <a:cubicBezTo>
                    <a:pt x="486642" y="80772"/>
                    <a:pt x="464430" y="101974"/>
                    <a:pt x="435150" y="101974"/>
                  </a:cubicBezTo>
                  <a:cubicBezTo>
                    <a:pt x="420763" y="101974"/>
                    <a:pt x="408142" y="96674"/>
                    <a:pt x="399118" y="87965"/>
                  </a:cubicBezTo>
                  <a:lnTo>
                    <a:pt x="397141" y="85099"/>
                  </a:lnTo>
                  <a:lnTo>
                    <a:pt x="387023" y="90979"/>
                  </a:lnTo>
                  <a:cubicBezTo>
                    <a:pt x="381675" y="92887"/>
                    <a:pt x="375838" y="93897"/>
                    <a:pt x="369780" y="93897"/>
                  </a:cubicBezTo>
                  <a:cubicBezTo>
                    <a:pt x="355140" y="93897"/>
                    <a:pt x="342015" y="89354"/>
                    <a:pt x="335452" y="81781"/>
                  </a:cubicBezTo>
                  <a:cubicBezTo>
                    <a:pt x="350092" y="78247"/>
                    <a:pt x="359179" y="66132"/>
                    <a:pt x="359179" y="42910"/>
                  </a:cubicBezTo>
                  <a:cubicBezTo>
                    <a:pt x="359179" y="22717"/>
                    <a:pt x="350597" y="8077"/>
                    <a:pt x="331918" y="8077"/>
                  </a:cubicBezTo>
                  <a:cubicBezTo>
                    <a:pt x="308696" y="8077"/>
                    <a:pt x="300619" y="29784"/>
                    <a:pt x="300619" y="58054"/>
                  </a:cubicBezTo>
                  <a:lnTo>
                    <a:pt x="300619" y="132264"/>
                  </a:lnTo>
                  <a:lnTo>
                    <a:pt x="363217" y="132264"/>
                  </a:lnTo>
                  <a:lnTo>
                    <a:pt x="360693" y="144884"/>
                  </a:lnTo>
                  <a:lnTo>
                    <a:pt x="300619" y="144884"/>
                  </a:lnTo>
                  <a:lnTo>
                    <a:pt x="300619" y="327126"/>
                  </a:lnTo>
                  <a:cubicBezTo>
                    <a:pt x="300619" y="360445"/>
                    <a:pt x="312230" y="369027"/>
                    <a:pt x="339490" y="381142"/>
                  </a:cubicBezTo>
                  <a:lnTo>
                    <a:pt x="339490" y="382152"/>
                  </a:lnTo>
                  <a:lnTo>
                    <a:pt x="186529" y="382152"/>
                  </a:lnTo>
                  <a:lnTo>
                    <a:pt x="186529" y="381142"/>
                  </a:lnTo>
                  <a:cubicBezTo>
                    <a:pt x="208741" y="367007"/>
                    <a:pt x="210255" y="360445"/>
                    <a:pt x="210255" y="327126"/>
                  </a:cubicBezTo>
                  <a:lnTo>
                    <a:pt x="210255" y="144884"/>
                  </a:lnTo>
                  <a:lnTo>
                    <a:pt x="180976" y="144884"/>
                  </a:lnTo>
                  <a:lnTo>
                    <a:pt x="180976" y="139331"/>
                  </a:lnTo>
                  <a:lnTo>
                    <a:pt x="210255" y="128225"/>
                  </a:lnTo>
                  <a:lnTo>
                    <a:pt x="210255" y="113585"/>
                  </a:lnTo>
                  <a:lnTo>
                    <a:pt x="212504" y="87227"/>
                  </a:lnTo>
                  <a:lnTo>
                    <a:pt x="206048" y="90979"/>
                  </a:lnTo>
                  <a:cubicBezTo>
                    <a:pt x="200700" y="92887"/>
                    <a:pt x="194863" y="93897"/>
                    <a:pt x="188805" y="93897"/>
                  </a:cubicBezTo>
                  <a:cubicBezTo>
                    <a:pt x="174165" y="93897"/>
                    <a:pt x="161040" y="89354"/>
                    <a:pt x="154477" y="81781"/>
                  </a:cubicBezTo>
                  <a:cubicBezTo>
                    <a:pt x="169117" y="78247"/>
                    <a:pt x="178204" y="66132"/>
                    <a:pt x="178204" y="42910"/>
                  </a:cubicBezTo>
                  <a:cubicBezTo>
                    <a:pt x="178204" y="22717"/>
                    <a:pt x="169622" y="8077"/>
                    <a:pt x="150943" y="8077"/>
                  </a:cubicBezTo>
                  <a:cubicBezTo>
                    <a:pt x="127721" y="8077"/>
                    <a:pt x="119644" y="29784"/>
                    <a:pt x="119644" y="58054"/>
                  </a:cubicBezTo>
                  <a:lnTo>
                    <a:pt x="119644" y="132264"/>
                  </a:lnTo>
                  <a:lnTo>
                    <a:pt x="182242" y="132264"/>
                  </a:lnTo>
                  <a:lnTo>
                    <a:pt x="179718" y="144884"/>
                  </a:lnTo>
                  <a:lnTo>
                    <a:pt x="119644" y="144884"/>
                  </a:lnTo>
                  <a:lnTo>
                    <a:pt x="119644" y="327126"/>
                  </a:lnTo>
                  <a:cubicBezTo>
                    <a:pt x="119644" y="360445"/>
                    <a:pt x="131255" y="369027"/>
                    <a:pt x="158516" y="381142"/>
                  </a:cubicBezTo>
                  <a:lnTo>
                    <a:pt x="158516" y="382152"/>
                  </a:lnTo>
                  <a:lnTo>
                    <a:pt x="5554" y="382152"/>
                  </a:lnTo>
                  <a:lnTo>
                    <a:pt x="5554" y="381142"/>
                  </a:lnTo>
                  <a:cubicBezTo>
                    <a:pt x="27766" y="367007"/>
                    <a:pt x="29280" y="360445"/>
                    <a:pt x="29280" y="327126"/>
                  </a:cubicBezTo>
                  <a:lnTo>
                    <a:pt x="29280" y="144884"/>
                  </a:lnTo>
                  <a:lnTo>
                    <a:pt x="0" y="144884"/>
                  </a:lnTo>
                  <a:lnTo>
                    <a:pt x="0" y="139331"/>
                  </a:lnTo>
                  <a:lnTo>
                    <a:pt x="29280" y="128225"/>
                  </a:lnTo>
                  <a:lnTo>
                    <a:pt x="29280" y="113585"/>
                  </a:lnTo>
                  <a:cubicBezTo>
                    <a:pt x="29280" y="36347"/>
                    <a:pt x="79763" y="0"/>
                    <a:pt x="15094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13" name="TextBox 12"/>
            <p:cNvSpPr txBox="1">
              <a:spLocks/>
            </p:cNvSpPr>
            <p:nvPr/>
          </p:nvSpPr>
          <p:spPr>
            <a:xfrm>
              <a:off x="1205971" y="5416132"/>
              <a:ext cx="250308" cy="25059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14" name="TextBox 13"/>
            <p:cNvSpPr txBox="1">
              <a:spLocks/>
            </p:cNvSpPr>
            <p:nvPr/>
          </p:nvSpPr>
          <p:spPr>
            <a:xfrm>
              <a:off x="1840684" y="5487481"/>
              <a:ext cx="169193" cy="179242"/>
            </a:xfrm>
            <a:custGeom>
              <a:avLst/>
              <a:gdLst/>
              <a:ahLst/>
              <a:cxnLst/>
              <a:rect l="l" t="t" r="r" b="b"/>
              <a:pathLst>
                <a:path w="245345" h="259984">
                  <a:moveTo>
                    <a:pt x="144885" y="0"/>
                  </a:moveTo>
                  <a:cubicBezTo>
                    <a:pt x="199406" y="0"/>
                    <a:pt x="240297" y="23726"/>
                    <a:pt x="240297" y="65122"/>
                  </a:cubicBezTo>
                  <a:cubicBezTo>
                    <a:pt x="240297" y="95411"/>
                    <a:pt x="217075" y="111061"/>
                    <a:pt x="192843" y="111061"/>
                  </a:cubicBezTo>
                  <a:cubicBezTo>
                    <a:pt x="166087" y="111061"/>
                    <a:pt x="150438" y="96421"/>
                    <a:pt x="148923" y="81781"/>
                  </a:cubicBezTo>
                  <a:cubicBezTo>
                    <a:pt x="151952" y="82791"/>
                    <a:pt x="155486" y="83296"/>
                    <a:pt x="158010" y="83296"/>
                  </a:cubicBezTo>
                  <a:cubicBezTo>
                    <a:pt x="176689" y="83296"/>
                    <a:pt x="184261" y="67646"/>
                    <a:pt x="184261" y="48463"/>
                  </a:cubicBezTo>
                  <a:cubicBezTo>
                    <a:pt x="184261" y="24231"/>
                    <a:pt x="171136" y="8582"/>
                    <a:pt x="145894" y="8582"/>
                  </a:cubicBezTo>
                  <a:cubicBezTo>
                    <a:pt x="110557" y="8582"/>
                    <a:pt x="93897" y="54016"/>
                    <a:pt x="93897" y="112575"/>
                  </a:cubicBezTo>
                  <a:cubicBezTo>
                    <a:pt x="93897" y="181737"/>
                    <a:pt x="124692" y="218589"/>
                    <a:pt x="171640" y="218589"/>
                  </a:cubicBezTo>
                  <a:cubicBezTo>
                    <a:pt x="200415" y="218589"/>
                    <a:pt x="226666" y="204958"/>
                    <a:pt x="242316" y="173659"/>
                  </a:cubicBezTo>
                  <a:lnTo>
                    <a:pt x="245345" y="175174"/>
                  </a:lnTo>
                  <a:cubicBezTo>
                    <a:pt x="231210" y="229190"/>
                    <a:pt x="185775" y="259984"/>
                    <a:pt x="129740" y="259984"/>
                  </a:cubicBezTo>
                  <a:cubicBezTo>
                    <a:pt x="60074" y="259984"/>
                    <a:pt x="0" y="213036"/>
                    <a:pt x="0" y="134788"/>
                  </a:cubicBezTo>
                  <a:cubicBezTo>
                    <a:pt x="0" y="49977"/>
                    <a:pt x="63608" y="0"/>
                    <a:pt x="144885"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15" name="TextBox 14"/>
            <p:cNvSpPr txBox="1">
              <a:spLocks/>
            </p:cNvSpPr>
            <p:nvPr/>
          </p:nvSpPr>
          <p:spPr>
            <a:xfrm>
              <a:off x="2024603" y="5487481"/>
              <a:ext cx="173719" cy="179242"/>
            </a:xfrm>
            <a:custGeom>
              <a:avLst/>
              <a:gdLst/>
              <a:ahLst/>
              <a:cxnLst/>
              <a:rect l="l" t="t" r="r" b="b"/>
              <a:pathLst>
                <a:path w="251908" h="259984">
                  <a:moveTo>
                    <a:pt x="132264" y="0"/>
                  </a:moveTo>
                  <a:cubicBezTo>
                    <a:pt x="213541" y="0"/>
                    <a:pt x="251908" y="51996"/>
                    <a:pt x="251908" y="118633"/>
                  </a:cubicBezTo>
                  <a:lnTo>
                    <a:pt x="91373" y="118633"/>
                  </a:lnTo>
                  <a:cubicBezTo>
                    <a:pt x="91373" y="181232"/>
                    <a:pt x="124187" y="218589"/>
                    <a:pt x="172650" y="218589"/>
                  </a:cubicBezTo>
                  <a:cubicBezTo>
                    <a:pt x="203444" y="218589"/>
                    <a:pt x="230200" y="204958"/>
                    <a:pt x="245850" y="173659"/>
                  </a:cubicBezTo>
                  <a:lnTo>
                    <a:pt x="249383" y="175174"/>
                  </a:lnTo>
                  <a:cubicBezTo>
                    <a:pt x="234744" y="229190"/>
                    <a:pt x="189309" y="259984"/>
                    <a:pt x="131759" y="259984"/>
                  </a:cubicBezTo>
                  <a:cubicBezTo>
                    <a:pt x="59569" y="259984"/>
                    <a:pt x="0" y="212531"/>
                    <a:pt x="0" y="130244"/>
                  </a:cubicBezTo>
                  <a:cubicBezTo>
                    <a:pt x="0" y="50987"/>
                    <a:pt x="60074" y="0"/>
                    <a:pt x="132264" y="0"/>
                  </a:cubicBezTo>
                  <a:close/>
                  <a:moveTo>
                    <a:pt x="132264" y="8582"/>
                  </a:moveTo>
                  <a:cubicBezTo>
                    <a:pt x="106013" y="8582"/>
                    <a:pt x="92888" y="48463"/>
                    <a:pt x="91878" y="108032"/>
                  </a:cubicBezTo>
                  <a:lnTo>
                    <a:pt x="165078" y="108032"/>
                  </a:lnTo>
                  <a:cubicBezTo>
                    <a:pt x="165078" y="51492"/>
                    <a:pt x="161039" y="8582"/>
                    <a:pt x="132264" y="8582"/>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16" name="TextBox 15"/>
            <p:cNvSpPr txBox="1">
              <a:spLocks/>
            </p:cNvSpPr>
            <p:nvPr/>
          </p:nvSpPr>
          <p:spPr>
            <a:xfrm>
              <a:off x="1727626" y="5490962"/>
              <a:ext cx="97129" cy="172281"/>
            </a:xfrm>
            <a:custGeom>
              <a:avLst/>
              <a:gdLst/>
              <a:ahLst/>
              <a:cxnLst/>
              <a:rect l="l" t="t" r="r" b="b"/>
              <a:pathLst>
                <a:path w="140846" h="249888">
                  <a:moveTo>
                    <a:pt x="0" y="0"/>
                  </a:moveTo>
                  <a:lnTo>
                    <a:pt x="117119" y="0"/>
                  </a:lnTo>
                  <a:lnTo>
                    <a:pt x="117119" y="194862"/>
                  </a:lnTo>
                  <a:cubicBezTo>
                    <a:pt x="117119" y="228181"/>
                    <a:pt x="118633" y="234743"/>
                    <a:pt x="140846" y="248878"/>
                  </a:cubicBezTo>
                  <a:lnTo>
                    <a:pt x="140846" y="249888"/>
                  </a:lnTo>
                  <a:lnTo>
                    <a:pt x="3029" y="249888"/>
                  </a:lnTo>
                  <a:lnTo>
                    <a:pt x="3029" y="248878"/>
                  </a:lnTo>
                  <a:cubicBezTo>
                    <a:pt x="25241" y="234743"/>
                    <a:pt x="26755" y="228181"/>
                    <a:pt x="26755" y="194862"/>
                  </a:cubicBezTo>
                  <a:lnTo>
                    <a:pt x="26755" y="56035"/>
                  </a:lnTo>
                  <a:cubicBezTo>
                    <a:pt x="26755" y="21707"/>
                    <a:pt x="23726" y="14640"/>
                    <a:pt x="0" y="1009"/>
                  </a:cubicBez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17" name="TextBox 16"/>
            <p:cNvSpPr txBox="1">
              <a:spLocks/>
            </p:cNvSpPr>
            <p:nvPr/>
          </p:nvSpPr>
          <p:spPr>
            <a:xfrm>
              <a:off x="1909962" y="5713507"/>
              <a:ext cx="223154" cy="250591"/>
            </a:xfrm>
            <a:custGeom>
              <a:avLst/>
              <a:gdLst/>
              <a:ahLst/>
              <a:cxnLst/>
              <a:rect l="l" t="t" r="r" b="b"/>
              <a:pathLst>
                <a:path w="323593" h="363474">
                  <a:moveTo>
                    <a:pt x="190319" y="0"/>
                  </a:moveTo>
                  <a:cubicBezTo>
                    <a:pt x="236258" y="0"/>
                    <a:pt x="260994" y="15145"/>
                    <a:pt x="277653" y="15145"/>
                  </a:cubicBezTo>
                  <a:cubicBezTo>
                    <a:pt x="291284" y="15145"/>
                    <a:pt x="299866" y="9087"/>
                    <a:pt x="310467" y="0"/>
                  </a:cubicBezTo>
                  <a:lnTo>
                    <a:pt x="314001" y="120149"/>
                  </a:lnTo>
                  <a:lnTo>
                    <a:pt x="312991" y="120149"/>
                  </a:lnTo>
                  <a:cubicBezTo>
                    <a:pt x="287750" y="56541"/>
                    <a:pt x="250393" y="11107"/>
                    <a:pt x="199910" y="11107"/>
                  </a:cubicBezTo>
                  <a:cubicBezTo>
                    <a:pt x="137312" y="11107"/>
                    <a:pt x="101974" y="80268"/>
                    <a:pt x="101974" y="164573"/>
                  </a:cubicBezTo>
                  <a:cubicBezTo>
                    <a:pt x="101974" y="260490"/>
                    <a:pt x="155486" y="315011"/>
                    <a:pt x="221113" y="315011"/>
                  </a:cubicBezTo>
                  <a:cubicBezTo>
                    <a:pt x="263014" y="315011"/>
                    <a:pt x="297846" y="300371"/>
                    <a:pt x="320564" y="252918"/>
                  </a:cubicBezTo>
                  <a:lnTo>
                    <a:pt x="323593" y="253927"/>
                  </a:lnTo>
                  <a:cubicBezTo>
                    <a:pt x="306428" y="321574"/>
                    <a:pt x="252412" y="363474"/>
                    <a:pt x="173660" y="363474"/>
                  </a:cubicBezTo>
                  <a:cubicBezTo>
                    <a:pt x="74209" y="363474"/>
                    <a:pt x="0" y="293304"/>
                    <a:pt x="0" y="186786"/>
                  </a:cubicBezTo>
                  <a:cubicBezTo>
                    <a:pt x="0" y="76229"/>
                    <a:pt x="85820" y="0"/>
                    <a:pt x="190319"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18" name="TextBox 17"/>
            <p:cNvSpPr txBox="1">
              <a:spLocks/>
            </p:cNvSpPr>
            <p:nvPr/>
          </p:nvSpPr>
          <p:spPr>
            <a:xfrm>
              <a:off x="2422311" y="5713507"/>
              <a:ext cx="250308" cy="25059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19" name="TextBox 18"/>
            <p:cNvSpPr txBox="1">
              <a:spLocks/>
            </p:cNvSpPr>
            <p:nvPr/>
          </p:nvSpPr>
          <p:spPr>
            <a:xfrm>
              <a:off x="2148125" y="5713855"/>
              <a:ext cx="257619" cy="246763"/>
            </a:xfrm>
            <a:custGeom>
              <a:avLst/>
              <a:gdLst/>
              <a:ahLst/>
              <a:cxnLst/>
              <a:rect l="l" t="t" r="r" b="b"/>
              <a:pathLst>
                <a:path w="373571" h="357921">
                  <a:moveTo>
                    <a:pt x="17164" y="0"/>
                  </a:moveTo>
                  <a:cubicBezTo>
                    <a:pt x="24232" y="3534"/>
                    <a:pt x="35338" y="4544"/>
                    <a:pt x="52502" y="4544"/>
                  </a:cubicBezTo>
                  <a:lnTo>
                    <a:pt x="321069" y="4544"/>
                  </a:lnTo>
                  <a:cubicBezTo>
                    <a:pt x="338233" y="4544"/>
                    <a:pt x="349339" y="3534"/>
                    <a:pt x="356407" y="0"/>
                  </a:cubicBezTo>
                  <a:lnTo>
                    <a:pt x="373571" y="119644"/>
                  </a:lnTo>
                  <a:lnTo>
                    <a:pt x="372561" y="119644"/>
                  </a:lnTo>
                  <a:cubicBezTo>
                    <a:pt x="329651" y="50988"/>
                    <a:pt x="309963" y="17669"/>
                    <a:pt x="255946" y="17669"/>
                  </a:cubicBezTo>
                  <a:lnTo>
                    <a:pt x="234239" y="17669"/>
                  </a:lnTo>
                  <a:lnTo>
                    <a:pt x="234239" y="297847"/>
                  </a:lnTo>
                  <a:cubicBezTo>
                    <a:pt x="234239" y="331165"/>
                    <a:pt x="240802" y="342272"/>
                    <a:pt x="263014" y="356912"/>
                  </a:cubicBezTo>
                  <a:lnTo>
                    <a:pt x="263014" y="357921"/>
                  </a:lnTo>
                  <a:lnTo>
                    <a:pt x="110557" y="357921"/>
                  </a:lnTo>
                  <a:lnTo>
                    <a:pt x="110557" y="356912"/>
                  </a:lnTo>
                  <a:cubicBezTo>
                    <a:pt x="133274" y="342272"/>
                    <a:pt x="139332" y="331165"/>
                    <a:pt x="139332" y="297847"/>
                  </a:cubicBezTo>
                  <a:lnTo>
                    <a:pt x="139332" y="17669"/>
                  </a:lnTo>
                  <a:lnTo>
                    <a:pt x="117624" y="17669"/>
                  </a:lnTo>
                  <a:cubicBezTo>
                    <a:pt x="63608" y="17669"/>
                    <a:pt x="43920" y="50988"/>
                    <a:pt x="1010" y="119644"/>
                  </a:cubicBezTo>
                  <a:lnTo>
                    <a:pt x="0" y="119644"/>
                  </a:lnTo>
                  <a:lnTo>
                    <a:pt x="17164"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grpSp>
          <p:nvGrpSpPr>
            <p:cNvPr id="25" name="Group 24"/>
            <p:cNvGrpSpPr/>
            <p:nvPr/>
          </p:nvGrpSpPr>
          <p:grpSpPr>
            <a:xfrm>
              <a:off x="1465810" y="5723666"/>
              <a:ext cx="414429" cy="91688"/>
              <a:chOff x="1465428" y="5723666"/>
              <a:chExt cx="414321" cy="91688"/>
            </a:xfrm>
          </p:grpSpPr>
          <p:sp>
            <p:nvSpPr>
              <p:cNvPr id="20" name="TextBox 19"/>
              <p:cNvSpPr txBox="1">
                <a:spLocks/>
              </p:cNvSpPr>
              <p:nvPr/>
            </p:nvSpPr>
            <p:spPr>
              <a:xfrm>
                <a:off x="1465428" y="5723666"/>
                <a:ext cx="90135" cy="91688"/>
              </a:xfrm>
              <a:custGeom>
                <a:avLst/>
                <a:gdLst/>
                <a:ahLst/>
                <a:cxnLst/>
                <a:rect l="l" t="t" r="r" b="b"/>
                <a:pathLst>
                  <a:path w="130738" h="132991">
                    <a:moveTo>
                      <a:pt x="65709" y="0"/>
                    </a:moveTo>
                    <a:cubicBezTo>
                      <a:pt x="86122" y="0"/>
                      <a:pt x="102063" y="5891"/>
                      <a:pt x="113533" y="17673"/>
                    </a:cubicBezTo>
                    <a:cubicBezTo>
                      <a:pt x="125003" y="29455"/>
                      <a:pt x="130738" y="45715"/>
                      <a:pt x="130738" y="66451"/>
                    </a:cubicBezTo>
                    <a:cubicBezTo>
                      <a:pt x="130738" y="87129"/>
                      <a:pt x="124987" y="103389"/>
                      <a:pt x="113485" y="115230"/>
                    </a:cubicBezTo>
                    <a:cubicBezTo>
                      <a:pt x="101982" y="127071"/>
                      <a:pt x="85992" y="132991"/>
                      <a:pt x="65515" y="132991"/>
                    </a:cubicBezTo>
                    <a:cubicBezTo>
                      <a:pt x="44584" y="132991"/>
                      <a:pt x="28432" y="127174"/>
                      <a:pt x="17059" y="115539"/>
                    </a:cubicBezTo>
                    <a:cubicBezTo>
                      <a:pt x="5686" y="103904"/>
                      <a:pt x="0" y="87483"/>
                      <a:pt x="0" y="66275"/>
                    </a:cubicBezTo>
                    <a:cubicBezTo>
                      <a:pt x="0" y="45243"/>
                      <a:pt x="5702" y="28940"/>
                      <a:pt x="17107" y="17364"/>
                    </a:cubicBezTo>
                    <a:cubicBezTo>
                      <a:pt x="28513" y="5788"/>
                      <a:pt x="44713" y="0"/>
                      <a:pt x="65709" y="0"/>
                    </a:cubicBezTo>
                    <a:close/>
                    <a:moveTo>
                      <a:pt x="65709" y="13431"/>
                    </a:moveTo>
                    <a:cubicBezTo>
                      <a:pt x="49962" y="13431"/>
                      <a:pt x="37990" y="17953"/>
                      <a:pt x="29793" y="26996"/>
                    </a:cubicBezTo>
                    <a:cubicBezTo>
                      <a:pt x="21595" y="36038"/>
                      <a:pt x="17496" y="49190"/>
                      <a:pt x="17496" y="66451"/>
                    </a:cubicBezTo>
                    <a:cubicBezTo>
                      <a:pt x="17496" y="83948"/>
                      <a:pt x="21595" y="97218"/>
                      <a:pt x="29793" y="106261"/>
                    </a:cubicBezTo>
                    <a:cubicBezTo>
                      <a:pt x="37990" y="115303"/>
                      <a:pt x="49897" y="119825"/>
                      <a:pt x="65515" y="119825"/>
                    </a:cubicBezTo>
                    <a:cubicBezTo>
                      <a:pt x="81262" y="119825"/>
                      <a:pt x="93153" y="115318"/>
                      <a:pt x="101188" y="106305"/>
                    </a:cubicBezTo>
                    <a:cubicBezTo>
                      <a:pt x="109224" y="97291"/>
                      <a:pt x="113242" y="84007"/>
                      <a:pt x="113242" y="66451"/>
                    </a:cubicBezTo>
                    <a:cubicBezTo>
                      <a:pt x="113242" y="49073"/>
                      <a:pt x="109240" y="35891"/>
                      <a:pt x="101237" y="26907"/>
                    </a:cubicBezTo>
                    <a:cubicBezTo>
                      <a:pt x="93234" y="17923"/>
                      <a:pt x="81391" y="13431"/>
                      <a:pt x="65709" y="13431"/>
                    </a:cubicBez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21" name="TextBox 20"/>
              <p:cNvSpPr txBox="1">
                <a:spLocks/>
              </p:cNvSpPr>
              <p:nvPr/>
            </p:nvSpPr>
            <p:spPr>
              <a:xfrm>
                <a:off x="1569024" y="5725066"/>
                <a:ext cx="54618" cy="89069"/>
              </a:xfrm>
              <a:custGeom>
                <a:avLst/>
                <a:gdLst/>
                <a:ahLst/>
                <a:cxnLst/>
                <a:rect l="l" t="t" r="r" b="b"/>
                <a:pathLst>
                  <a:path w="79221" h="129192">
                    <a:moveTo>
                      <a:pt x="0" y="0"/>
                    </a:moveTo>
                    <a:lnTo>
                      <a:pt x="79221" y="0"/>
                    </a:lnTo>
                    <a:lnTo>
                      <a:pt x="79221" y="13343"/>
                    </a:lnTo>
                    <a:lnTo>
                      <a:pt x="16525" y="13343"/>
                    </a:lnTo>
                    <a:lnTo>
                      <a:pt x="16525" y="60620"/>
                    </a:lnTo>
                    <a:lnTo>
                      <a:pt x="75430" y="60620"/>
                    </a:lnTo>
                    <a:lnTo>
                      <a:pt x="75430" y="73963"/>
                    </a:lnTo>
                    <a:lnTo>
                      <a:pt x="16525" y="73963"/>
                    </a:lnTo>
                    <a:lnTo>
                      <a:pt x="16525" y="129192"/>
                    </a:lnTo>
                    <a:lnTo>
                      <a:pt x="0" y="129192"/>
                    </a:lnTo>
                    <a:lnTo>
                      <a:pt x="0" y="0"/>
                    </a:ln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22" name="TextBox 21"/>
              <p:cNvSpPr txBox="1">
                <a:spLocks/>
              </p:cNvSpPr>
              <p:nvPr/>
            </p:nvSpPr>
            <p:spPr>
              <a:xfrm>
                <a:off x="1648696" y="5725066"/>
                <a:ext cx="73449" cy="89069"/>
              </a:xfrm>
              <a:custGeom>
                <a:avLst/>
                <a:gdLst/>
                <a:ahLst/>
                <a:cxnLst/>
                <a:rect l="l" t="t" r="r" b="b"/>
                <a:pathLst>
                  <a:path w="106535" h="129192">
                    <a:moveTo>
                      <a:pt x="0" y="0"/>
                    </a:moveTo>
                    <a:lnTo>
                      <a:pt x="106535" y="0"/>
                    </a:lnTo>
                    <a:lnTo>
                      <a:pt x="106535" y="13343"/>
                    </a:lnTo>
                    <a:lnTo>
                      <a:pt x="61530" y="13343"/>
                    </a:lnTo>
                    <a:lnTo>
                      <a:pt x="61530" y="129192"/>
                    </a:lnTo>
                    <a:lnTo>
                      <a:pt x="45005" y="129192"/>
                    </a:lnTo>
                    <a:lnTo>
                      <a:pt x="45005" y="13343"/>
                    </a:lnTo>
                    <a:lnTo>
                      <a:pt x="0" y="13343"/>
                    </a:lnTo>
                    <a:lnTo>
                      <a:pt x="0" y="0"/>
                    </a:ln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23" name="TextBox 22"/>
              <p:cNvSpPr txBox="1">
                <a:spLocks/>
              </p:cNvSpPr>
              <p:nvPr/>
            </p:nvSpPr>
            <p:spPr>
              <a:xfrm>
                <a:off x="1733195" y="5725066"/>
                <a:ext cx="74387" cy="89069"/>
              </a:xfrm>
              <a:custGeom>
                <a:avLst/>
                <a:gdLst/>
                <a:ahLst/>
                <a:cxnLst/>
                <a:rect l="l" t="t" r="r" b="b"/>
                <a:pathLst>
                  <a:path w="107896" h="129192">
                    <a:moveTo>
                      <a:pt x="0" y="0"/>
                    </a:moveTo>
                    <a:lnTo>
                      <a:pt x="16525" y="0"/>
                    </a:lnTo>
                    <a:lnTo>
                      <a:pt x="16525" y="54964"/>
                    </a:lnTo>
                    <a:lnTo>
                      <a:pt x="91371" y="54964"/>
                    </a:lnTo>
                    <a:lnTo>
                      <a:pt x="91371" y="0"/>
                    </a:lnTo>
                    <a:lnTo>
                      <a:pt x="107896" y="0"/>
                    </a:lnTo>
                    <a:lnTo>
                      <a:pt x="107896" y="129192"/>
                    </a:lnTo>
                    <a:lnTo>
                      <a:pt x="91371" y="129192"/>
                    </a:lnTo>
                    <a:lnTo>
                      <a:pt x="91371" y="68396"/>
                    </a:lnTo>
                    <a:lnTo>
                      <a:pt x="16525" y="68396"/>
                    </a:lnTo>
                    <a:lnTo>
                      <a:pt x="16525" y="129192"/>
                    </a:lnTo>
                    <a:lnTo>
                      <a:pt x="0" y="129192"/>
                    </a:lnTo>
                    <a:lnTo>
                      <a:pt x="0" y="0"/>
                    </a:ln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24" name="TextBox 23"/>
              <p:cNvSpPr txBox="1">
                <a:spLocks/>
              </p:cNvSpPr>
              <p:nvPr/>
            </p:nvSpPr>
            <p:spPr>
              <a:xfrm>
                <a:off x="1825131" y="5725066"/>
                <a:ext cx="54618" cy="89069"/>
              </a:xfrm>
              <a:custGeom>
                <a:avLst/>
                <a:gdLst/>
                <a:ahLst/>
                <a:cxnLst/>
                <a:rect l="l" t="t" r="r" b="b"/>
                <a:pathLst>
                  <a:path w="79221" h="129192">
                    <a:moveTo>
                      <a:pt x="0" y="0"/>
                    </a:moveTo>
                    <a:lnTo>
                      <a:pt x="79221" y="0"/>
                    </a:lnTo>
                    <a:lnTo>
                      <a:pt x="79221" y="13343"/>
                    </a:lnTo>
                    <a:lnTo>
                      <a:pt x="16525" y="13343"/>
                    </a:lnTo>
                    <a:lnTo>
                      <a:pt x="16525" y="54964"/>
                    </a:lnTo>
                    <a:lnTo>
                      <a:pt x="75430" y="54964"/>
                    </a:lnTo>
                    <a:lnTo>
                      <a:pt x="75430" y="68219"/>
                    </a:lnTo>
                    <a:lnTo>
                      <a:pt x="16525" y="68219"/>
                    </a:lnTo>
                    <a:lnTo>
                      <a:pt x="16525" y="115760"/>
                    </a:lnTo>
                    <a:lnTo>
                      <a:pt x="79221" y="115760"/>
                    </a:lnTo>
                    <a:lnTo>
                      <a:pt x="79221" y="129192"/>
                    </a:lnTo>
                    <a:lnTo>
                      <a:pt x="0" y="129192"/>
                    </a:lnTo>
                    <a:lnTo>
                      <a:pt x="0" y="0"/>
                    </a:lnTo>
                    <a:close/>
                  </a:path>
                </a:pathLst>
              </a:custGeom>
              <a:solidFill>
                <a:schemeClr val="accent3"/>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grpSp>
        <p:sp>
          <p:nvSpPr>
            <p:cNvPr id="11" name="Freeform 9"/>
            <p:cNvSpPr>
              <a:spLocks noEditPoints="1"/>
            </p:cNvSpPr>
            <p:nvPr/>
          </p:nvSpPr>
          <p:spPr bwMode="auto">
            <a:xfrm>
              <a:off x="834187" y="5007328"/>
              <a:ext cx="2121961" cy="1172755"/>
            </a:xfrm>
            <a:custGeom>
              <a:avLst/>
              <a:gdLst>
                <a:gd name="T0" fmla="*/ 279 w 326"/>
                <a:gd name="T1" fmla="*/ 180 h 180"/>
                <a:gd name="T2" fmla="*/ 271 w 326"/>
                <a:gd name="T3" fmla="*/ 179 h 180"/>
                <a:gd name="T4" fmla="*/ 45 w 326"/>
                <a:gd name="T5" fmla="*/ 179 h 180"/>
                <a:gd name="T6" fmla="*/ 6 w 326"/>
                <a:gd name="T7" fmla="*/ 153 h 180"/>
                <a:gd name="T8" fmla="*/ 0 w 326"/>
                <a:gd name="T9" fmla="*/ 129 h 180"/>
                <a:gd name="T10" fmla="*/ 32 w 326"/>
                <a:gd name="T11" fmla="*/ 82 h 180"/>
                <a:gd name="T12" fmla="*/ 30 w 326"/>
                <a:gd name="T13" fmla="*/ 70 h 180"/>
                <a:gd name="T14" fmla="*/ 100 w 326"/>
                <a:gd name="T15" fmla="*/ 0 h 180"/>
                <a:gd name="T16" fmla="*/ 154 w 326"/>
                <a:gd name="T17" fmla="*/ 26 h 180"/>
                <a:gd name="T18" fmla="*/ 187 w 326"/>
                <a:gd name="T19" fmla="*/ 16 h 180"/>
                <a:gd name="T20" fmla="*/ 242 w 326"/>
                <a:gd name="T21" fmla="*/ 55 h 180"/>
                <a:gd name="T22" fmla="*/ 245 w 326"/>
                <a:gd name="T23" fmla="*/ 54 h 180"/>
                <a:gd name="T24" fmla="*/ 280 w 326"/>
                <a:gd name="T25" fmla="*/ 85 h 180"/>
                <a:gd name="T26" fmla="*/ 326 w 326"/>
                <a:gd name="T27" fmla="*/ 132 h 180"/>
                <a:gd name="T28" fmla="*/ 279 w 326"/>
                <a:gd name="T29" fmla="*/ 180 h 180"/>
                <a:gd name="T30" fmla="*/ 100 w 326"/>
                <a:gd name="T31" fmla="*/ 4 h 180"/>
                <a:gd name="T32" fmla="*/ 34 w 326"/>
                <a:gd name="T33" fmla="*/ 70 h 180"/>
                <a:gd name="T34" fmla="*/ 36 w 326"/>
                <a:gd name="T35" fmla="*/ 83 h 180"/>
                <a:gd name="T36" fmla="*/ 36 w 326"/>
                <a:gd name="T37" fmla="*/ 85 h 180"/>
                <a:gd name="T38" fmla="*/ 35 w 326"/>
                <a:gd name="T39" fmla="*/ 86 h 180"/>
                <a:gd name="T40" fmla="*/ 4 w 326"/>
                <a:gd name="T41" fmla="*/ 129 h 180"/>
                <a:gd name="T42" fmla="*/ 10 w 326"/>
                <a:gd name="T43" fmla="*/ 151 h 180"/>
                <a:gd name="T44" fmla="*/ 10 w 326"/>
                <a:gd name="T45" fmla="*/ 151 h 180"/>
                <a:gd name="T46" fmla="*/ 45 w 326"/>
                <a:gd name="T47" fmla="*/ 175 h 180"/>
                <a:gd name="T48" fmla="*/ 271 w 326"/>
                <a:gd name="T49" fmla="*/ 175 h 180"/>
                <a:gd name="T50" fmla="*/ 272 w 326"/>
                <a:gd name="T51" fmla="*/ 175 h 180"/>
                <a:gd name="T52" fmla="*/ 279 w 326"/>
                <a:gd name="T53" fmla="*/ 176 h 180"/>
                <a:gd name="T54" fmla="*/ 322 w 326"/>
                <a:gd name="T55" fmla="*/ 132 h 180"/>
                <a:gd name="T56" fmla="*/ 279 w 326"/>
                <a:gd name="T57" fmla="*/ 89 h 180"/>
                <a:gd name="T58" fmla="*/ 278 w 326"/>
                <a:gd name="T59" fmla="*/ 89 h 180"/>
                <a:gd name="T60" fmla="*/ 276 w 326"/>
                <a:gd name="T61" fmla="*/ 89 h 180"/>
                <a:gd name="T62" fmla="*/ 276 w 326"/>
                <a:gd name="T63" fmla="*/ 87 h 180"/>
                <a:gd name="T64" fmla="*/ 245 w 326"/>
                <a:gd name="T65" fmla="*/ 58 h 180"/>
                <a:gd name="T66" fmla="*/ 240 w 326"/>
                <a:gd name="T67" fmla="*/ 59 h 180"/>
                <a:gd name="T68" fmla="*/ 239 w 326"/>
                <a:gd name="T69" fmla="*/ 59 h 180"/>
                <a:gd name="T70" fmla="*/ 238 w 326"/>
                <a:gd name="T71" fmla="*/ 57 h 180"/>
                <a:gd name="T72" fmla="*/ 187 w 326"/>
                <a:gd name="T73" fmla="*/ 20 h 180"/>
                <a:gd name="T74" fmla="*/ 155 w 326"/>
                <a:gd name="T75" fmla="*/ 30 h 180"/>
                <a:gd name="T76" fmla="*/ 153 w 326"/>
                <a:gd name="T77" fmla="*/ 31 h 180"/>
                <a:gd name="T78" fmla="*/ 152 w 326"/>
                <a:gd name="T79" fmla="*/ 30 h 180"/>
                <a:gd name="T80" fmla="*/ 100 w 326"/>
                <a:gd name="T8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6" h="180">
                  <a:moveTo>
                    <a:pt x="279" y="180"/>
                  </a:moveTo>
                  <a:cubicBezTo>
                    <a:pt x="276" y="180"/>
                    <a:pt x="274" y="179"/>
                    <a:pt x="271" y="179"/>
                  </a:cubicBezTo>
                  <a:cubicBezTo>
                    <a:pt x="45" y="179"/>
                    <a:pt x="45" y="179"/>
                    <a:pt x="45" y="179"/>
                  </a:cubicBezTo>
                  <a:cubicBezTo>
                    <a:pt x="28" y="179"/>
                    <a:pt x="13" y="169"/>
                    <a:pt x="6" y="153"/>
                  </a:cubicBezTo>
                  <a:cubicBezTo>
                    <a:pt x="2" y="146"/>
                    <a:pt x="0" y="137"/>
                    <a:pt x="0" y="129"/>
                  </a:cubicBezTo>
                  <a:cubicBezTo>
                    <a:pt x="0" y="109"/>
                    <a:pt x="13" y="90"/>
                    <a:pt x="32" y="82"/>
                  </a:cubicBezTo>
                  <a:cubicBezTo>
                    <a:pt x="31" y="78"/>
                    <a:pt x="30" y="74"/>
                    <a:pt x="30" y="70"/>
                  </a:cubicBezTo>
                  <a:cubicBezTo>
                    <a:pt x="30" y="32"/>
                    <a:pt x="62" y="0"/>
                    <a:pt x="100" y="0"/>
                  </a:cubicBezTo>
                  <a:cubicBezTo>
                    <a:pt x="121" y="0"/>
                    <a:pt x="141" y="10"/>
                    <a:pt x="154" y="26"/>
                  </a:cubicBezTo>
                  <a:cubicBezTo>
                    <a:pt x="164" y="19"/>
                    <a:pt x="175" y="16"/>
                    <a:pt x="187" y="16"/>
                  </a:cubicBezTo>
                  <a:cubicBezTo>
                    <a:pt x="212" y="16"/>
                    <a:pt x="233" y="31"/>
                    <a:pt x="242" y="55"/>
                  </a:cubicBezTo>
                  <a:cubicBezTo>
                    <a:pt x="243" y="54"/>
                    <a:pt x="244" y="54"/>
                    <a:pt x="245" y="54"/>
                  </a:cubicBezTo>
                  <a:cubicBezTo>
                    <a:pt x="263" y="54"/>
                    <a:pt x="278" y="68"/>
                    <a:pt x="280" y="85"/>
                  </a:cubicBezTo>
                  <a:cubicBezTo>
                    <a:pt x="305" y="86"/>
                    <a:pt x="326" y="107"/>
                    <a:pt x="326" y="132"/>
                  </a:cubicBezTo>
                  <a:cubicBezTo>
                    <a:pt x="326" y="158"/>
                    <a:pt x="305" y="180"/>
                    <a:pt x="279" y="180"/>
                  </a:cubicBezTo>
                  <a:close/>
                  <a:moveTo>
                    <a:pt x="100" y="4"/>
                  </a:moveTo>
                  <a:cubicBezTo>
                    <a:pt x="64" y="4"/>
                    <a:pt x="34" y="34"/>
                    <a:pt x="34" y="70"/>
                  </a:cubicBezTo>
                  <a:cubicBezTo>
                    <a:pt x="34" y="75"/>
                    <a:pt x="35" y="79"/>
                    <a:pt x="36" y="83"/>
                  </a:cubicBezTo>
                  <a:cubicBezTo>
                    <a:pt x="36" y="85"/>
                    <a:pt x="36" y="85"/>
                    <a:pt x="36" y="85"/>
                  </a:cubicBezTo>
                  <a:cubicBezTo>
                    <a:pt x="35" y="86"/>
                    <a:pt x="35" y="86"/>
                    <a:pt x="35" y="86"/>
                  </a:cubicBezTo>
                  <a:cubicBezTo>
                    <a:pt x="16" y="92"/>
                    <a:pt x="4" y="110"/>
                    <a:pt x="4" y="129"/>
                  </a:cubicBezTo>
                  <a:cubicBezTo>
                    <a:pt x="4" y="137"/>
                    <a:pt x="6" y="144"/>
                    <a:pt x="10" y="151"/>
                  </a:cubicBezTo>
                  <a:cubicBezTo>
                    <a:pt x="10" y="151"/>
                    <a:pt x="10" y="151"/>
                    <a:pt x="10" y="151"/>
                  </a:cubicBezTo>
                  <a:cubicBezTo>
                    <a:pt x="16" y="166"/>
                    <a:pt x="30" y="175"/>
                    <a:pt x="45" y="175"/>
                  </a:cubicBezTo>
                  <a:cubicBezTo>
                    <a:pt x="271" y="175"/>
                    <a:pt x="271" y="175"/>
                    <a:pt x="271" y="175"/>
                  </a:cubicBezTo>
                  <a:cubicBezTo>
                    <a:pt x="272" y="175"/>
                    <a:pt x="272" y="175"/>
                    <a:pt x="272" y="175"/>
                  </a:cubicBezTo>
                  <a:cubicBezTo>
                    <a:pt x="274" y="175"/>
                    <a:pt x="276" y="176"/>
                    <a:pt x="279" y="176"/>
                  </a:cubicBezTo>
                  <a:cubicBezTo>
                    <a:pt x="303" y="176"/>
                    <a:pt x="322" y="156"/>
                    <a:pt x="322" y="132"/>
                  </a:cubicBezTo>
                  <a:cubicBezTo>
                    <a:pt x="322" y="109"/>
                    <a:pt x="303" y="89"/>
                    <a:pt x="279" y="89"/>
                  </a:cubicBezTo>
                  <a:cubicBezTo>
                    <a:pt x="279" y="89"/>
                    <a:pt x="278" y="89"/>
                    <a:pt x="278" y="89"/>
                  </a:cubicBezTo>
                  <a:cubicBezTo>
                    <a:pt x="276" y="89"/>
                    <a:pt x="276" y="89"/>
                    <a:pt x="276" y="89"/>
                  </a:cubicBezTo>
                  <a:cubicBezTo>
                    <a:pt x="276" y="87"/>
                    <a:pt x="276" y="87"/>
                    <a:pt x="276" y="87"/>
                  </a:cubicBezTo>
                  <a:cubicBezTo>
                    <a:pt x="275" y="71"/>
                    <a:pt x="261" y="58"/>
                    <a:pt x="245" y="58"/>
                  </a:cubicBezTo>
                  <a:cubicBezTo>
                    <a:pt x="243" y="58"/>
                    <a:pt x="242" y="59"/>
                    <a:pt x="240" y="59"/>
                  </a:cubicBezTo>
                  <a:cubicBezTo>
                    <a:pt x="239" y="59"/>
                    <a:pt x="239" y="59"/>
                    <a:pt x="239" y="59"/>
                  </a:cubicBezTo>
                  <a:cubicBezTo>
                    <a:pt x="238" y="57"/>
                    <a:pt x="238" y="57"/>
                    <a:pt x="238" y="57"/>
                  </a:cubicBezTo>
                  <a:cubicBezTo>
                    <a:pt x="231" y="35"/>
                    <a:pt x="210" y="20"/>
                    <a:pt x="187" y="20"/>
                  </a:cubicBezTo>
                  <a:cubicBezTo>
                    <a:pt x="175" y="20"/>
                    <a:pt x="164" y="23"/>
                    <a:pt x="155" y="30"/>
                  </a:cubicBezTo>
                  <a:cubicBezTo>
                    <a:pt x="153" y="31"/>
                    <a:pt x="153" y="31"/>
                    <a:pt x="153" y="31"/>
                  </a:cubicBezTo>
                  <a:cubicBezTo>
                    <a:pt x="152" y="30"/>
                    <a:pt x="152" y="30"/>
                    <a:pt x="152" y="30"/>
                  </a:cubicBezTo>
                  <a:cubicBezTo>
                    <a:pt x="139" y="14"/>
                    <a:pt x="121" y="4"/>
                    <a:pt x="100" y="4"/>
                  </a:cubicBezTo>
                  <a:close/>
                </a:path>
              </a:pathLst>
            </a:custGeom>
            <a:solidFill>
              <a:srgbClr val="34697F"/>
            </a:solidFill>
            <a:ln>
              <a:noFill/>
            </a:ln>
            <a:extLst/>
          </p:spPr>
          <p:txBody>
            <a:bodyPr vert="horz" wrap="square" lIns="91440" tIns="45720" rIns="91440" bIns="45720" numCol="1" anchor="t" anchorCtr="0" compatLnSpc="1">
              <a:prstTxWarp prst="textNoShape">
                <a:avLst/>
              </a:prstTxWarp>
            </a:bodyPr>
            <a:lstStyle/>
            <a:p>
              <a:endParaRPr lang="en-US" sz="1800">
                <a:latin typeface="Arial" panose="020B0604020202020204" pitchFamily="34" charset="0"/>
                <a:cs typeface="Arial" panose="020B0604020202020204" pitchFamily="34" charset="0"/>
                <a:sym typeface="Arial" panose="020B0604020202020204" pitchFamily="34" charset="0"/>
              </a:endParaRPr>
            </a:p>
          </p:txBody>
        </p:sp>
      </p:grpSp>
      <p:sp>
        <p:nvSpPr>
          <p:cNvPr id="26" name="Text Placeholder 7"/>
          <p:cNvSpPr>
            <a:spLocks noGrp="1"/>
          </p:cNvSpPr>
          <p:nvPr>
            <p:ph type="body" sz="quarter" idx="11" hasCustomPrompt="1"/>
          </p:nvPr>
        </p:nvSpPr>
        <p:spPr>
          <a:xfrm>
            <a:off x="4078427" y="5460984"/>
            <a:ext cx="2844943" cy="431800"/>
          </a:xfrm>
          <a:prstGeom prst="rect">
            <a:avLst/>
          </a:prstGeom>
        </p:spPr>
        <p:txBody>
          <a:bodyPr rIns="0" anchor="b"/>
          <a:lstStyle>
            <a:lvl1pPr algn="r">
              <a:defRPr sz="1200" baseline="0">
                <a:solidFill>
                  <a:srgbClr val="FFFFFF"/>
                </a:solidFill>
                <a:latin typeface="Arial" panose="020B0604020202020204" pitchFamily="34" charset="0"/>
                <a:cs typeface="Arial" panose="020B0604020202020204" pitchFamily="34" charset="0"/>
                <a:sym typeface="Arial" panose="020B0604020202020204" pitchFamily="34" charset="0"/>
              </a:defRPr>
            </a:lvl1pPr>
          </a:lstStyle>
          <a:p>
            <a:pPr lvl="0"/>
            <a:r>
              <a:rPr lang="en-US" dirty="0"/>
              <a:t>Presenter Name</a:t>
            </a:r>
            <a:endParaRPr lang="tr-TR" dirty="0"/>
          </a:p>
        </p:txBody>
      </p:sp>
      <p:sp>
        <p:nvSpPr>
          <p:cNvPr id="27" name="Title 1"/>
          <p:cNvSpPr>
            <a:spLocks noGrp="1"/>
          </p:cNvSpPr>
          <p:nvPr>
            <p:ph type="ctrTitle" hasCustomPrompt="1"/>
          </p:nvPr>
        </p:nvSpPr>
        <p:spPr>
          <a:xfrm>
            <a:off x="822960" y="640080"/>
            <a:ext cx="5585018" cy="2630356"/>
          </a:xfrm>
          <a:prstGeom prst="rect">
            <a:avLst/>
          </a:prstGeom>
        </p:spPr>
        <p:txBody>
          <a:bodyPr lIns="0" anchor="t"/>
          <a:lstStyle>
            <a:lvl1pPr algn="l">
              <a:lnSpc>
                <a:spcPct val="80000"/>
              </a:lnSpc>
              <a:defRPr sz="7200" b="1" baseline="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r>
              <a:rPr lang="en-US" dirty="0"/>
              <a:t>Cover Slide Title</a:t>
            </a:r>
          </a:p>
        </p:txBody>
      </p:sp>
      <p:sp>
        <p:nvSpPr>
          <p:cNvPr id="30" name="Text Placeholder 7"/>
          <p:cNvSpPr>
            <a:spLocks noGrp="1"/>
          </p:cNvSpPr>
          <p:nvPr>
            <p:ph type="body" sz="quarter" idx="12" hasCustomPrompt="1"/>
          </p:nvPr>
        </p:nvSpPr>
        <p:spPr>
          <a:xfrm>
            <a:off x="822960" y="3383280"/>
            <a:ext cx="5578857" cy="431800"/>
          </a:xfrm>
          <a:prstGeom prst="rect">
            <a:avLst/>
          </a:prstGeom>
        </p:spPr>
        <p:txBody>
          <a:bodyPr lIns="0" anchor="ctr" anchorCtr="0"/>
          <a:lstStyle>
            <a:lvl1pPr algn="l">
              <a:defRPr sz="2400" baseline="0">
                <a:solidFill>
                  <a:srgbClr val="FFFFFF"/>
                </a:solidFill>
                <a:latin typeface="Arial" panose="020B0604020202020204" pitchFamily="34" charset="0"/>
                <a:cs typeface="Arial" panose="020B0604020202020204" pitchFamily="34" charset="0"/>
                <a:sym typeface="Arial" panose="020B0604020202020204" pitchFamily="34" charset="0"/>
              </a:defRPr>
            </a:lvl1pPr>
          </a:lstStyle>
          <a:p>
            <a:pPr lvl="0"/>
            <a:r>
              <a:rPr lang="en-US" dirty="0"/>
              <a:t>Second Level Title</a:t>
            </a:r>
            <a:endParaRPr lang="tr-TR" dirty="0"/>
          </a:p>
        </p:txBody>
      </p:sp>
      <p:sp>
        <p:nvSpPr>
          <p:cNvPr id="31" name="Text Placeholder 7"/>
          <p:cNvSpPr>
            <a:spLocks noGrp="1"/>
          </p:cNvSpPr>
          <p:nvPr>
            <p:ph type="body" sz="quarter" idx="13" hasCustomPrompt="1"/>
          </p:nvPr>
        </p:nvSpPr>
        <p:spPr>
          <a:xfrm>
            <a:off x="4078427" y="5892928"/>
            <a:ext cx="2844943" cy="431800"/>
          </a:xfrm>
          <a:prstGeom prst="rect">
            <a:avLst/>
          </a:prstGeom>
        </p:spPr>
        <p:txBody>
          <a:bodyPr rIns="0" anchor="b"/>
          <a:lstStyle>
            <a:lvl1pPr algn="r">
              <a:defRPr sz="1800" baseline="0">
                <a:solidFill>
                  <a:srgbClr val="FFFFFF"/>
                </a:solidFill>
                <a:latin typeface="Arial" panose="020B0604020202020204" pitchFamily="34" charset="0"/>
                <a:cs typeface="Arial" panose="020B0604020202020204" pitchFamily="34" charset="0"/>
                <a:sym typeface="Arial" panose="020B0604020202020204" pitchFamily="34" charset="0"/>
              </a:defRPr>
            </a:lvl1pPr>
          </a:lstStyle>
          <a:p>
            <a:pPr lvl="0"/>
            <a:r>
              <a:rPr lang="en-US" dirty="0"/>
              <a:t>Date</a:t>
            </a:r>
            <a:endParaRPr lang="tr-TR" dirty="0"/>
          </a:p>
        </p:txBody>
      </p:sp>
      <p:sp>
        <p:nvSpPr>
          <p:cNvPr id="32" name="Picture Placeholder 5"/>
          <p:cNvSpPr>
            <a:spLocks noGrp="1"/>
          </p:cNvSpPr>
          <p:nvPr>
            <p:ph type="pic" sz="quarter" idx="14" hasCustomPrompt="1"/>
          </p:nvPr>
        </p:nvSpPr>
        <p:spPr>
          <a:xfrm>
            <a:off x="7751365" y="0"/>
            <a:ext cx="4440635" cy="3283083"/>
          </a:xfrm>
          <a:prstGeom prst="rect">
            <a:avLst/>
          </a:prstGeom>
          <a:solidFill>
            <a:schemeClr val="bg2"/>
          </a:solidFill>
        </p:spPr>
        <p:txBody>
          <a:bodyPr anchor="ctr"/>
          <a:lstStyle>
            <a:lvl1pPr algn="ctr">
              <a:defRPr sz="3200">
                <a:solidFill>
                  <a:schemeClr val="bg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stStyle>
          <a:p>
            <a:r>
              <a:rPr lang="en-US" dirty="0"/>
              <a:t>IMAGE</a:t>
            </a:r>
          </a:p>
        </p:txBody>
      </p:sp>
      <p:sp>
        <p:nvSpPr>
          <p:cNvPr id="29" name="Rectangle 28">
            <a:extLst>
              <a:ext uri="{FF2B5EF4-FFF2-40B4-BE49-F238E27FC236}">
                <a16:creationId xmlns:a16="http://schemas.microsoft.com/office/drawing/2014/main" id="{18E5268C-C141-4840-9D00-CD333097B788}"/>
              </a:ext>
            </a:extLst>
          </p:cNvPr>
          <p:cNvSpPr/>
          <p:nvPr userDrawn="1"/>
        </p:nvSpPr>
        <p:spPr>
          <a:xfrm>
            <a:off x="7749346" y="3314331"/>
            <a:ext cx="4442653" cy="52993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64008" rIns="0" bIns="45720" numCol="1" spcCol="0" rtlCol="0" fromWordArt="0" anchor="ctr" anchorCtr="0" forceAA="0" compatLnSpc="1">
            <a:prstTxWarp prst="textNoShape">
              <a:avLst/>
            </a:prstTxWarp>
            <a:noAutofit/>
          </a:bodyPr>
          <a:lstStyle/>
          <a:p>
            <a:pPr algn="ctr">
              <a:lnSpc>
                <a:spcPct val="85000"/>
              </a:lnSpc>
            </a:pPr>
            <a:endParaRPr lang="en-US" sz="1600" b="1" dirty="0">
              <a:solidFill>
                <a:schemeClr val="accent2"/>
              </a:solidFill>
              <a:latin typeface="Arial" panose="020B0604020202020204" pitchFamily="34" charset="0"/>
              <a:cs typeface="Arial" panose="020B0604020202020204" pitchFamily="34" charset="0"/>
              <a:sym typeface="Arial" panose="020B0604020202020204" pitchFamily="34" charset="0"/>
            </a:endParaRPr>
          </a:p>
        </p:txBody>
      </p:sp>
      <p:sp>
        <p:nvSpPr>
          <p:cNvPr id="33" name="Rectangle 32"/>
          <p:cNvSpPr/>
          <p:nvPr userDrawn="1"/>
        </p:nvSpPr>
        <p:spPr>
          <a:xfrm>
            <a:off x="7749346" y="3283084"/>
            <a:ext cx="4442654" cy="74842"/>
          </a:xfrm>
          <a:prstGeom prst="rect">
            <a:avLst/>
          </a:prstGeom>
          <a:solidFill>
            <a:srgbClr val="043B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Arial" panose="020B0604020202020204" pitchFamily="34" charset="0"/>
              <a:cs typeface="Arial" panose="020B0604020202020204" pitchFamily="34" charset="0"/>
              <a:sym typeface="Arial" panose="020B0604020202020204" pitchFamily="34" charset="0"/>
            </a:endParaRPr>
          </a:p>
        </p:txBody>
      </p:sp>
      <p:sp>
        <p:nvSpPr>
          <p:cNvPr id="34" name="Rectangle 33"/>
          <p:cNvSpPr/>
          <p:nvPr userDrawn="1"/>
        </p:nvSpPr>
        <p:spPr>
          <a:xfrm>
            <a:off x="7749345" y="3799295"/>
            <a:ext cx="4442654" cy="74842"/>
          </a:xfrm>
          <a:prstGeom prst="rect">
            <a:avLst/>
          </a:prstGeom>
          <a:solidFill>
            <a:srgbClr val="043B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Arial" panose="020B0604020202020204" pitchFamily="34" charset="0"/>
              <a:cs typeface="Arial" panose="020B0604020202020204" pitchFamily="34" charset="0"/>
              <a:sym typeface="Arial" panose="020B0604020202020204" pitchFamily="34" charset="0"/>
            </a:endParaRPr>
          </a:p>
        </p:txBody>
      </p:sp>
      <p:sp>
        <p:nvSpPr>
          <p:cNvPr id="36" name="Text Placeholder 35"/>
          <p:cNvSpPr>
            <a:spLocks noGrp="1"/>
          </p:cNvSpPr>
          <p:nvPr>
            <p:ph type="body" sz="quarter" idx="15" hasCustomPrompt="1"/>
          </p:nvPr>
        </p:nvSpPr>
        <p:spPr>
          <a:xfrm>
            <a:off x="7749344" y="3374405"/>
            <a:ext cx="4442656" cy="438517"/>
          </a:xfrm>
          <a:prstGeom prst="rect">
            <a:avLst/>
          </a:prstGeom>
        </p:spPr>
        <p:txBody>
          <a:bodyPr anchor="ctr"/>
          <a:lstStyle>
            <a:lvl1pPr marL="0" algn="ctr" defTabSz="914400" rtl="0" eaLnBrk="1" latinLnBrk="0" hangingPunct="1">
              <a:lnSpc>
                <a:spcPct val="85000"/>
              </a:lnSpc>
              <a:defRPr lang="en-US" sz="1600" b="1" kern="1200" dirty="0">
                <a:solidFill>
                  <a:schemeClr val="accent2"/>
                </a:solidFill>
                <a:latin typeface="Arial" panose="020B0604020202020204" pitchFamily="34" charset="0"/>
                <a:ea typeface="+mn-ea"/>
                <a:cs typeface="Arial" panose="020B0604020202020204" pitchFamily="34" charset="0"/>
                <a:sym typeface="Arial" panose="020B0604020202020204" pitchFamily="34" charset="0"/>
              </a:defRPr>
            </a:lvl1pPr>
          </a:lstStyle>
          <a:p>
            <a:pPr lvl="0"/>
            <a:r>
              <a:rPr lang="en-US" dirty="0"/>
              <a:t>&lt;DIVISION NAME&gt;</a:t>
            </a:r>
          </a:p>
        </p:txBody>
      </p:sp>
      <p:grpSp>
        <p:nvGrpSpPr>
          <p:cNvPr id="35" name="Group 34">
            <a:extLst>
              <a:ext uri="{FF2B5EF4-FFF2-40B4-BE49-F238E27FC236}">
                <a16:creationId xmlns:a16="http://schemas.microsoft.com/office/drawing/2014/main" id="{0860573B-7502-4EE6-AE67-B3B2FFD71F32}"/>
              </a:ext>
            </a:extLst>
          </p:cNvPr>
          <p:cNvGrpSpPr>
            <a:grpSpLocks noChangeAspect="1"/>
          </p:cNvGrpSpPr>
          <p:nvPr userDrawn="1"/>
        </p:nvGrpSpPr>
        <p:grpSpPr>
          <a:xfrm>
            <a:off x="9472900" y="5931510"/>
            <a:ext cx="2192529" cy="292877"/>
            <a:chOff x="279400" y="2781300"/>
            <a:chExt cx="8585200" cy="1092200"/>
          </a:xfrm>
        </p:grpSpPr>
        <p:sp>
          <p:nvSpPr>
            <p:cNvPr id="37" name="Freeform 5">
              <a:extLst>
                <a:ext uri="{FF2B5EF4-FFF2-40B4-BE49-F238E27FC236}">
                  <a16:creationId xmlns:a16="http://schemas.microsoft.com/office/drawing/2014/main" id="{264CBBCF-7D70-4513-96B2-BDE78A1BE2AC}"/>
                </a:ext>
              </a:extLst>
            </p:cNvPr>
            <p:cNvSpPr>
              <a:spLocks/>
            </p:cNvSpPr>
            <p:nvPr/>
          </p:nvSpPr>
          <p:spPr bwMode="auto">
            <a:xfrm>
              <a:off x="4605338" y="2816225"/>
              <a:ext cx="958850" cy="1035050"/>
            </a:xfrm>
            <a:custGeom>
              <a:avLst/>
              <a:gdLst>
                <a:gd name="T0" fmla="*/ 142 w 604"/>
                <a:gd name="T1" fmla="*/ 272 h 652"/>
                <a:gd name="T2" fmla="*/ 142 w 604"/>
                <a:gd name="T3" fmla="*/ 57 h 652"/>
                <a:gd name="T4" fmla="*/ 206 w 604"/>
                <a:gd name="T5" fmla="*/ 57 h 652"/>
                <a:gd name="T6" fmla="*/ 206 w 604"/>
                <a:gd name="T7" fmla="*/ 0 h 652"/>
                <a:gd name="T8" fmla="*/ 0 w 604"/>
                <a:gd name="T9" fmla="*/ 0 h 652"/>
                <a:gd name="T10" fmla="*/ 0 w 604"/>
                <a:gd name="T11" fmla="*/ 57 h 652"/>
                <a:gd name="T12" fmla="*/ 64 w 604"/>
                <a:gd name="T13" fmla="*/ 57 h 652"/>
                <a:gd name="T14" fmla="*/ 64 w 604"/>
                <a:gd name="T15" fmla="*/ 587 h 652"/>
                <a:gd name="T16" fmla="*/ 0 w 604"/>
                <a:gd name="T17" fmla="*/ 587 h 652"/>
                <a:gd name="T18" fmla="*/ 0 w 604"/>
                <a:gd name="T19" fmla="*/ 652 h 652"/>
                <a:gd name="T20" fmla="*/ 206 w 604"/>
                <a:gd name="T21" fmla="*/ 652 h 652"/>
                <a:gd name="T22" fmla="*/ 206 w 604"/>
                <a:gd name="T23" fmla="*/ 587 h 652"/>
                <a:gd name="T24" fmla="*/ 142 w 604"/>
                <a:gd name="T25" fmla="*/ 587 h 652"/>
                <a:gd name="T26" fmla="*/ 142 w 604"/>
                <a:gd name="T27" fmla="*/ 329 h 652"/>
                <a:gd name="T28" fmla="*/ 462 w 604"/>
                <a:gd name="T29" fmla="*/ 329 h 652"/>
                <a:gd name="T30" fmla="*/ 462 w 604"/>
                <a:gd name="T31" fmla="*/ 587 h 652"/>
                <a:gd name="T32" fmla="*/ 398 w 604"/>
                <a:gd name="T33" fmla="*/ 587 h 652"/>
                <a:gd name="T34" fmla="*/ 398 w 604"/>
                <a:gd name="T35" fmla="*/ 652 h 652"/>
                <a:gd name="T36" fmla="*/ 604 w 604"/>
                <a:gd name="T37" fmla="*/ 652 h 652"/>
                <a:gd name="T38" fmla="*/ 604 w 604"/>
                <a:gd name="T39" fmla="*/ 587 h 652"/>
                <a:gd name="T40" fmla="*/ 540 w 604"/>
                <a:gd name="T41" fmla="*/ 587 h 652"/>
                <a:gd name="T42" fmla="*/ 540 w 604"/>
                <a:gd name="T43" fmla="*/ 57 h 652"/>
                <a:gd name="T44" fmla="*/ 604 w 604"/>
                <a:gd name="T45" fmla="*/ 57 h 652"/>
                <a:gd name="T46" fmla="*/ 604 w 604"/>
                <a:gd name="T47" fmla="*/ 0 h 652"/>
                <a:gd name="T48" fmla="*/ 398 w 604"/>
                <a:gd name="T49" fmla="*/ 0 h 652"/>
                <a:gd name="T50" fmla="*/ 398 w 604"/>
                <a:gd name="T51" fmla="*/ 57 h 652"/>
                <a:gd name="T52" fmla="*/ 462 w 604"/>
                <a:gd name="T53" fmla="*/ 57 h 652"/>
                <a:gd name="T54" fmla="*/ 462 w 604"/>
                <a:gd name="T55" fmla="*/ 272 h 652"/>
                <a:gd name="T56" fmla="*/ 142 w 604"/>
                <a:gd name="T57" fmla="*/ 27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4" h="652">
                  <a:moveTo>
                    <a:pt x="142" y="272"/>
                  </a:moveTo>
                  <a:lnTo>
                    <a:pt x="142" y="57"/>
                  </a:lnTo>
                  <a:lnTo>
                    <a:pt x="206" y="57"/>
                  </a:lnTo>
                  <a:lnTo>
                    <a:pt x="206" y="0"/>
                  </a:lnTo>
                  <a:lnTo>
                    <a:pt x="0" y="0"/>
                  </a:lnTo>
                  <a:lnTo>
                    <a:pt x="0" y="57"/>
                  </a:lnTo>
                  <a:lnTo>
                    <a:pt x="64" y="57"/>
                  </a:lnTo>
                  <a:lnTo>
                    <a:pt x="64" y="587"/>
                  </a:lnTo>
                  <a:lnTo>
                    <a:pt x="0" y="587"/>
                  </a:lnTo>
                  <a:lnTo>
                    <a:pt x="0" y="652"/>
                  </a:lnTo>
                  <a:lnTo>
                    <a:pt x="206" y="652"/>
                  </a:lnTo>
                  <a:lnTo>
                    <a:pt x="206" y="587"/>
                  </a:lnTo>
                  <a:lnTo>
                    <a:pt x="142" y="587"/>
                  </a:lnTo>
                  <a:lnTo>
                    <a:pt x="142" y="329"/>
                  </a:lnTo>
                  <a:lnTo>
                    <a:pt x="462" y="329"/>
                  </a:lnTo>
                  <a:lnTo>
                    <a:pt x="462" y="587"/>
                  </a:lnTo>
                  <a:lnTo>
                    <a:pt x="398" y="587"/>
                  </a:lnTo>
                  <a:lnTo>
                    <a:pt x="398" y="652"/>
                  </a:lnTo>
                  <a:lnTo>
                    <a:pt x="604" y="652"/>
                  </a:lnTo>
                  <a:lnTo>
                    <a:pt x="604" y="587"/>
                  </a:lnTo>
                  <a:lnTo>
                    <a:pt x="540" y="587"/>
                  </a:lnTo>
                  <a:lnTo>
                    <a:pt x="540" y="57"/>
                  </a:lnTo>
                  <a:lnTo>
                    <a:pt x="604" y="57"/>
                  </a:lnTo>
                  <a:lnTo>
                    <a:pt x="604" y="0"/>
                  </a:lnTo>
                  <a:lnTo>
                    <a:pt x="398" y="0"/>
                  </a:lnTo>
                  <a:lnTo>
                    <a:pt x="398" y="57"/>
                  </a:lnTo>
                  <a:lnTo>
                    <a:pt x="462" y="57"/>
                  </a:lnTo>
                  <a:lnTo>
                    <a:pt x="462" y="272"/>
                  </a:lnTo>
                  <a:lnTo>
                    <a:pt x="142" y="2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38" name="Freeform 6">
              <a:extLst>
                <a:ext uri="{FF2B5EF4-FFF2-40B4-BE49-F238E27FC236}">
                  <a16:creationId xmlns:a16="http://schemas.microsoft.com/office/drawing/2014/main" id="{CB55B7D8-3723-4CA7-83E2-4ECF2520F18B}"/>
                </a:ext>
              </a:extLst>
            </p:cNvPr>
            <p:cNvSpPr>
              <a:spLocks/>
            </p:cNvSpPr>
            <p:nvPr/>
          </p:nvSpPr>
          <p:spPr bwMode="auto">
            <a:xfrm>
              <a:off x="8042275" y="2816225"/>
              <a:ext cx="822325" cy="1035050"/>
            </a:xfrm>
            <a:custGeom>
              <a:avLst/>
              <a:gdLst>
                <a:gd name="T0" fmla="*/ 27 w 73"/>
                <a:gd name="T1" fmla="*/ 82 h 91"/>
                <a:gd name="T2" fmla="*/ 19 w 73"/>
                <a:gd name="T3" fmla="*/ 82 h 91"/>
                <a:gd name="T4" fmla="*/ 19 w 73"/>
                <a:gd name="T5" fmla="*/ 54 h 91"/>
                <a:gd name="T6" fmla="*/ 37 w 73"/>
                <a:gd name="T7" fmla="*/ 35 h 91"/>
                <a:gd name="T8" fmla="*/ 55 w 73"/>
                <a:gd name="T9" fmla="*/ 54 h 91"/>
                <a:gd name="T10" fmla="*/ 55 w 73"/>
                <a:gd name="T11" fmla="*/ 82 h 91"/>
                <a:gd name="T12" fmla="*/ 46 w 73"/>
                <a:gd name="T13" fmla="*/ 82 h 91"/>
                <a:gd name="T14" fmla="*/ 46 w 73"/>
                <a:gd name="T15" fmla="*/ 91 h 91"/>
                <a:gd name="T16" fmla="*/ 73 w 73"/>
                <a:gd name="T17" fmla="*/ 91 h 91"/>
                <a:gd name="T18" fmla="*/ 73 w 73"/>
                <a:gd name="T19" fmla="*/ 82 h 91"/>
                <a:gd name="T20" fmla="*/ 65 w 73"/>
                <a:gd name="T21" fmla="*/ 82 h 91"/>
                <a:gd name="T22" fmla="*/ 65 w 73"/>
                <a:gd name="T23" fmla="*/ 54 h 91"/>
                <a:gd name="T24" fmla="*/ 38 w 73"/>
                <a:gd name="T25" fmla="*/ 26 h 91"/>
                <a:gd name="T26" fmla="*/ 19 w 73"/>
                <a:gd name="T27" fmla="*/ 35 h 91"/>
                <a:gd name="T28" fmla="*/ 19 w 73"/>
                <a:gd name="T29" fmla="*/ 0 h 91"/>
                <a:gd name="T30" fmla="*/ 0 w 73"/>
                <a:gd name="T31" fmla="*/ 0 h 91"/>
                <a:gd name="T32" fmla="*/ 0 w 73"/>
                <a:gd name="T33" fmla="*/ 8 h 91"/>
                <a:gd name="T34" fmla="*/ 9 w 73"/>
                <a:gd name="T35" fmla="*/ 8 h 91"/>
                <a:gd name="T36" fmla="*/ 9 w 73"/>
                <a:gd name="T37" fmla="*/ 82 h 91"/>
                <a:gd name="T38" fmla="*/ 0 w 73"/>
                <a:gd name="T39" fmla="*/ 82 h 91"/>
                <a:gd name="T40" fmla="*/ 0 w 73"/>
                <a:gd name="T41" fmla="*/ 91 h 91"/>
                <a:gd name="T42" fmla="*/ 27 w 73"/>
                <a:gd name="T43" fmla="*/ 91 h 91"/>
                <a:gd name="T44" fmla="*/ 27 w 73"/>
                <a:gd name="T45" fmla="*/ 8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3" h="91">
                  <a:moveTo>
                    <a:pt x="27" y="82"/>
                  </a:moveTo>
                  <a:cubicBezTo>
                    <a:pt x="19" y="82"/>
                    <a:pt x="19" y="82"/>
                    <a:pt x="19" y="82"/>
                  </a:cubicBezTo>
                  <a:cubicBezTo>
                    <a:pt x="19" y="54"/>
                    <a:pt x="19" y="54"/>
                    <a:pt x="19" y="54"/>
                  </a:cubicBezTo>
                  <a:cubicBezTo>
                    <a:pt x="19" y="41"/>
                    <a:pt x="25" y="35"/>
                    <a:pt x="37" y="35"/>
                  </a:cubicBezTo>
                  <a:cubicBezTo>
                    <a:pt x="48" y="35"/>
                    <a:pt x="55" y="41"/>
                    <a:pt x="55" y="54"/>
                  </a:cubicBezTo>
                  <a:cubicBezTo>
                    <a:pt x="55" y="82"/>
                    <a:pt x="55" y="82"/>
                    <a:pt x="55" y="82"/>
                  </a:cubicBezTo>
                  <a:cubicBezTo>
                    <a:pt x="46" y="82"/>
                    <a:pt x="46" y="82"/>
                    <a:pt x="46" y="82"/>
                  </a:cubicBezTo>
                  <a:cubicBezTo>
                    <a:pt x="46" y="91"/>
                    <a:pt x="46" y="91"/>
                    <a:pt x="46" y="91"/>
                  </a:cubicBezTo>
                  <a:cubicBezTo>
                    <a:pt x="73" y="91"/>
                    <a:pt x="73" y="91"/>
                    <a:pt x="73" y="91"/>
                  </a:cubicBezTo>
                  <a:cubicBezTo>
                    <a:pt x="73" y="82"/>
                    <a:pt x="73" y="82"/>
                    <a:pt x="73" y="82"/>
                  </a:cubicBezTo>
                  <a:cubicBezTo>
                    <a:pt x="65" y="82"/>
                    <a:pt x="65" y="82"/>
                    <a:pt x="65" y="82"/>
                  </a:cubicBezTo>
                  <a:cubicBezTo>
                    <a:pt x="65" y="54"/>
                    <a:pt x="65" y="54"/>
                    <a:pt x="65" y="54"/>
                  </a:cubicBezTo>
                  <a:cubicBezTo>
                    <a:pt x="65" y="39"/>
                    <a:pt x="55" y="26"/>
                    <a:pt x="38" y="26"/>
                  </a:cubicBezTo>
                  <a:cubicBezTo>
                    <a:pt x="30" y="26"/>
                    <a:pt x="23" y="29"/>
                    <a:pt x="19" y="35"/>
                  </a:cubicBezTo>
                  <a:cubicBezTo>
                    <a:pt x="19" y="0"/>
                    <a:pt x="19" y="0"/>
                    <a:pt x="19" y="0"/>
                  </a:cubicBezTo>
                  <a:cubicBezTo>
                    <a:pt x="0" y="0"/>
                    <a:pt x="0" y="0"/>
                    <a:pt x="0" y="0"/>
                  </a:cubicBezTo>
                  <a:cubicBezTo>
                    <a:pt x="0" y="8"/>
                    <a:pt x="0" y="8"/>
                    <a:pt x="0" y="8"/>
                  </a:cubicBezTo>
                  <a:cubicBezTo>
                    <a:pt x="9" y="8"/>
                    <a:pt x="9" y="8"/>
                    <a:pt x="9" y="8"/>
                  </a:cubicBezTo>
                  <a:cubicBezTo>
                    <a:pt x="9" y="82"/>
                    <a:pt x="9" y="82"/>
                    <a:pt x="9" y="82"/>
                  </a:cubicBezTo>
                  <a:cubicBezTo>
                    <a:pt x="0" y="82"/>
                    <a:pt x="0" y="82"/>
                    <a:pt x="0" y="82"/>
                  </a:cubicBezTo>
                  <a:cubicBezTo>
                    <a:pt x="0" y="91"/>
                    <a:pt x="0" y="91"/>
                    <a:pt x="0" y="91"/>
                  </a:cubicBezTo>
                  <a:cubicBezTo>
                    <a:pt x="27" y="91"/>
                    <a:pt x="27" y="91"/>
                    <a:pt x="27" y="91"/>
                  </a:cubicBezTo>
                  <a:lnTo>
                    <a:pt x="27"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39" name="Freeform 7">
              <a:extLst>
                <a:ext uri="{FF2B5EF4-FFF2-40B4-BE49-F238E27FC236}">
                  <a16:creationId xmlns:a16="http://schemas.microsoft.com/office/drawing/2014/main" id="{66826270-096D-4A0F-B57D-78D557210E97}"/>
                </a:ext>
              </a:extLst>
            </p:cNvPr>
            <p:cNvSpPr>
              <a:spLocks noEditPoints="1"/>
            </p:cNvSpPr>
            <p:nvPr/>
          </p:nvSpPr>
          <p:spPr bwMode="auto">
            <a:xfrm>
              <a:off x="6419850" y="3111500"/>
              <a:ext cx="822325" cy="750888"/>
            </a:xfrm>
            <a:custGeom>
              <a:avLst/>
              <a:gdLst>
                <a:gd name="T0" fmla="*/ 73 w 73"/>
                <a:gd name="T1" fmla="*/ 10 h 66"/>
                <a:gd name="T2" fmla="*/ 73 w 73"/>
                <a:gd name="T3" fmla="*/ 2 h 66"/>
                <a:gd name="T4" fmla="*/ 54 w 73"/>
                <a:gd name="T5" fmla="*/ 2 h 66"/>
                <a:gd name="T6" fmla="*/ 54 w 73"/>
                <a:gd name="T7" fmla="*/ 11 h 66"/>
                <a:gd name="T8" fmla="*/ 31 w 73"/>
                <a:gd name="T9" fmla="*/ 0 h 66"/>
                <a:gd name="T10" fmla="*/ 0 w 73"/>
                <a:gd name="T11" fmla="*/ 33 h 66"/>
                <a:gd name="T12" fmla="*/ 31 w 73"/>
                <a:gd name="T13" fmla="*/ 66 h 66"/>
                <a:gd name="T14" fmla="*/ 54 w 73"/>
                <a:gd name="T15" fmla="*/ 55 h 66"/>
                <a:gd name="T16" fmla="*/ 54 w 73"/>
                <a:gd name="T17" fmla="*/ 65 h 66"/>
                <a:gd name="T18" fmla="*/ 73 w 73"/>
                <a:gd name="T19" fmla="*/ 65 h 66"/>
                <a:gd name="T20" fmla="*/ 73 w 73"/>
                <a:gd name="T21" fmla="*/ 56 h 66"/>
                <a:gd name="T22" fmla="*/ 64 w 73"/>
                <a:gd name="T23" fmla="*/ 56 h 66"/>
                <a:gd name="T24" fmla="*/ 64 w 73"/>
                <a:gd name="T25" fmla="*/ 10 h 66"/>
                <a:gd name="T26" fmla="*/ 73 w 73"/>
                <a:gd name="T27" fmla="*/ 10 h 66"/>
                <a:gd name="T28" fmla="*/ 33 w 73"/>
                <a:gd name="T29" fmla="*/ 58 h 66"/>
                <a:gd name="T30" fmla="*/ 11 w 73"/>
                <a:gd name="T31" fmla="*/ 33 h 66"/>
                <a:gd name="T32" fmla="*/ 33 w 73"/>
                <a:gd name="T33" fmla="*/ 9 h 66"/>
                <a:gd name="T34" fmla="*/ 54 w 73"/>
                <a:gd name="T35" fmla="*/ 33 h 66"/>
                <a:gd name="T36" fmla="*/ 33 w 73"/>
                <a:gd name="T37" fmla="*/ 5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3" h="66">
                  <a:moveTo>
                    <a:pt x="73" y="10"/>
                  </a:moveTo>
                  <a:cubicBezTo>
                    <a:pt x="73" y="2"/>
                    <a:pt x="73" y="2"/>
                    <a:pt x="73" y="2"/>
                  </a:cubicBezTo>
                  <a:cubicBezTo>
                    <a:pt x="54" y="2"/>
                    <a:pt x="54" y="2"/>
                    <a:pt x="54" y="2"/>
                  </a:cubicBezTo>
                  <a:cubicBezTo>
                    <a:pt x="54" y="11"/>
                    <a:pt x="54" y="11"/>
                    <a:pt x="54" y="11"/>
                  </a:cubicBezTo>
                  <a:cubicBezTo>
                    <a:pt x="49" y="4"/>
                    <a:pt x="41" y="0"/>
                    <a:pt x="31" y="0"/>
                  </a:cubicBezTo>
                  <a:cubicBezTo>
                    <a:pt x="13" y="0"/>
                    <a:pt x="0" y="14"/>
                    <a:pt x="0" y="33"/>
                  </a:cubicBezTo>
                  <a:cubicBezTo>
                    <a:pt x="0" y="52"/>
                    <a:pt x="13" y="66"/>
                    <a:pt x="31" y="66"/>
                  </a:cubicBezTo>
                  <a:cubicBezTo>
                    <a:pt x="41" y="66"/>
                    <a:pt x="49" y="62"/>
                    <a:pt x="54" y="55"/>
                  </a:cubicBezTo>
                  <a:cubicBezTo>
                    <a:pt x="54" y="65"/>
                    <a:pt x="54" y="65"/>
                    <a:pt x="54" y="65"/>
                  </a:cubicBezTo>
                  <a:cubicBezTo>
                    <a:pt x="73" y="65"/>
                    <a:pt x="73" y="65"/>
                    <a:pt x="73" y="65"/>
                  </a:cubicBezTo>
                  <a:cubicBezTo>
                    <a:pt x="73" y="56"/>
                    <a:pt x="73" y="56"/>
                    <a:pt x="73" y="56"/>
                  </a:cubicBezTo>
                  <a:cubicBezTo>
                    <a:pt x="64" y="56"/>
                    <a:pt x="64" y="56"/>
                    <a:pt x="64" y="56"/>
                  </a:cubicBezTo>
                  <a:cubicBezTo>
                    <a:pt x="64" y="10"/>
                    <a:pt x="64" y="10"/>
                    <a:pt x="64" y="10"/>
                  </a:cubicBezTo>
                  <a:lnTo>
                    <a:pt x="73" y="10"/>
                  </a:lnTo>
                  <a:close/>
                  <a:moveTo>
                    <a:pt x="33" y="58"/>
                  </a:moveTo>
                  <a:cubicBezTo>
                    <a:pt x="20" y="58"/>
                    <a:pt x="11" y="47"/>
                    <a:pt x="11" y="33"/>
                  </a:cubicBezTo>
                  <a:cubicBezTo>
                    <a:pt x="11" y="19"/>
                    <a:pt x="20" y="9"/>
                    <a:pt x="33" y="9"/>
                  </a:cubicBezTo>
                  <a:cubicBezTo>
                    <a:pt x="46" y="9"/>
                    <a:pt x="54" y="19"/>
                    <a:pt x="54" y="33"/>
                  </a:cubicBezTo>
                  <a:cubicBezTo>
                    <a:pt x="54" y="47"/>
                    <a:pt x="46" y="58"/>
                    <a:pt x="33" y="5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40" name="Freeform 8">
              <a:extLst>
                <a:ext uri="{FF2B5EF4-FFF2-40B4-BE49-F238E27FC236}">
                  <a16:creationId xmlns:a16="http://schemas.microsoft.com/office/drawing/2014/main" id="{D644210C-71FB-46C2-BB06-3DAD03BC87A0}"/>
                </a:ext>
              </a:extLst>
            </p:cNvPr>
            <p:cNvSpPr>
              <a:spLocks noEditPoints="1"/>
            </p:cNvSpPr>
            <p:nvPr/>
          </p:nvSpPr>
          <p:spPr bwMode="auto">
            <a:xfrm>
              <a:off x="5608638" y="3111500"/>
              <a:ext cx="731838" cy="750888"/>
            </a:xfrm>
            <a:custGeom>
              <a:avLst/>
              <a:gdLst>
                <a:gd name="T0" fmla="*/ 65 w 65"/>
                <a:gd name="T1" fmla="*/ 32 h 66"/>
                <a:gd name="T2" fmla="*/ 33 w 65"/>
                <a:gd name="T3" fmla="*/ 0 h 66"/>
                <a:gd name="T4" fmla="*/ 0 w 65"/>
                <a:gd name="T5" fmla="*/ 33 h 66"/>
                <a:gd name="T6" fmla="*/ 33 w 65"/>
                <a:gd name="T7" fmla="*/ 66 h 66"/>
                <a:gd name="T8" fmla="*/ 63 w 65"/>
                <a:gd name="T9" fmla="*/ 48 h 66"/>
                <a:gd name="T10" fmla="*/ 53 w 65"/>
                <a:gd name="T11" fmla="*/ 48 h 66"/>
                <a:gd name="T12" fmla="*/ 34 w 65"/>
                <a:gd name="T13" fmla="*/ 58 h 66"/>
                <a:gd name="T14" fmla="*/ 11 w 65"/>
                <a:gd name="T15" fmla="*/ 37 h 66"/>
                <a:gd name="T16" fmla="*/ 65 w 65"/>
                <a:gd name="T17" fmla="*/ 37 h 66"/>
                <a:gd name="T18" fmla="*/ 65 w 65"/>
                <a:gd name="T19" fmla="*/ 32 h 66"/>
                <a:gd name="T20" fmla="*/ 11 w 65"/>
                <a:gd name="T21" fmla="*/ 28 h 66"/>
                <a:gd name="T22" fmla="*/ 33 w 65"/>
                <a:gd name="T23" fmla="*/ 8 h 66"/>
                <a:gd name="T24" fmla="*/ 55 w 65"/>
                <a:gd name="T25" fmla="*/ 28 h 66"/>
                <a:gd name="T26" fmla="*/ 11 w 65"/>
                <a:gd name="T27"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5" h="66">
                  <a:moveTo>
                    <a:pt x="65" y="32"/>
                  </a:moveTo>
                  <a:cubicBezTo>
                    <a:pt x="65" y="13"/>
                    <a:pt x="53" y="0"/>
                    <a:pt x="33" y="0"/>
                  </a:cubicBezTo>
                  <a:cubicBezTo>
                    <a:pt x="14" y="0"/>
                    <a:pt x="0" y="14"/>
                    <a:pt x="0" y="33"/>
                  </a:cubicBezTo>
                  <a:cubicBezTo>
                    <a:pt x="0" y="53"/>
                    <a:pt x="14" y="66"/>
                    <a:pt x="33" y="66"/>
                  </a:cubicBezTo>
                  <a:cubicBezTo>
                    <a:pt x="47" y="66"/>
                    <a:pt x="58" y="59"/>
                    <a:pt x="63" y="48"/>
                  </a:cubicBezTo>
                  <a:cubicBezTo>
                    <a:pt x="53" y="48"/>
                    <a:pt x="53" y="48"/>
                    <a:pt x="53" y="48"/>
                  </a:cubicBezTo>
                  <a:cubicBezTo>
                    <a:pt x="50" y="54"/>
                    <a:pt x="43" y="58"/>
                    <a:pt x="34" y="58"/>
                  </a:cubicBezTo>
                  <a:cubicBezTo>
                    <a:pt x="19" y="58"/>
                    <a:pt x="12" y="49"/>
                    <a:pt x="11" y="37"/>
                  </a:cubicBezTo>
                  <a:cubicBezTo>
                    <a:pt x="65" y="37"/>
                    <a:pt x="65" y="37"/>
                    <a:pt x="65" y="37"/>
                  </a:cubicBezTo>
                  <a:lnTo>
                    <a:pt x="65" y="32"/>
                  </a:lnTo>
                  <a:close/>
                  <a:moveTo>
                    <a:pt x="11" y="28"/>
                  </a:moveTo>
                  <a:cubicBezTo>
                    <a:pt x="12" y="17"/>
                    <a:pt x="20" y="8"/>
                    <a:pt x="33" y="8"/>
                  </a:cubicBezTo>
                  <a:cubicBezTo>
                    <a:pt x="47" y="8"/>
                    <a:pt x="54" y="18"/>
                    <a:pt x="55" y="28"/>
                  </a:cubicBezTo>
                  <a:lnTo>
                    <a:pt x="11"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41" name="Freeform 9">
              <a:extLst>
                <a:ext uri="{FF2B5EF4-FFF2-40B4-BE49-F238E27FC236}">
                  <a16:creationId xmlns:a16="http://schemas.microsoft.com/office/drawing/2014/main" id="{6BD464F9-CB86-4782-98A8-138D13B22E79}"/>
                </a:ext>
              </a:extLst>
            </p:cNvPr>
            <p:cNvSpPr>
              <a:spLocks/>
            </p:cNvSpPr>
            <p:nvPr/>
          </p:nvSpPr>
          <p:spPr bwMode="auto">
            <a:xfrm>
              <a:off x="7613650" y="2952750"/>
              <a:ext cx="360363" cy="898525"/>
            </a:xfrm>
            <a:custGeom>
              <a:avLst/>
              <a:gdLst>
                <a:gd name="T0" fmla="*/ 20 w 32"/>
                <a:gd name="T1" fmla="*/ 62 h 79"/>
                <a:gd name="T2" fmla="*/ 20 w 32"/>
                <a:gd name="T3" fmla="*/ 24 h 79"/>
                <a:gd name="T4" fmla="*/ 32 w 32"/>
                <a:gd name="T5" fmla="*/ 24 h 79"/>
                <a:gd name="T6" fmla="*/ 32 w 32"/>
                <a:gd name="T7" fmla="*/ 16 h 79"/>
                <a:gd name="T8" fmla="*/ 20 w 32"/>
                <a:gd name="T9" fmla="*/ 16 h 79"/>
                <a:gd name="T10" fmla="*/ 20 w 32"/>
                <a:gd name="T11" fmla="*/ 0 h 79"/>
                <a:gd name="T12" fmla="*/ 9 w 32"/>
                <a:gd name="T13" fmla="*/ 0 h 79"/>
                <a:gd name="T14" fmla="*/ 9 w 32"/>
                <a:gd name="T15" fmla="*/ 16 h 79"/>
                <a:gd name="T16" fmla="*/ 0 w 32"/>
                <a:gd name="T17" fmla="*/ 16 h 79"/>
                <a:gd name="T18" fmla="*/ 0 w 32"/>
                <a:gd name="T19" fmla="*/ 24 h 79"/>
                <a:gd name="T20" fmla="*/ 9 w 32"/>
                <a:gd name="T21" fmla="*/ 24 h 79"/>
                <a:gd name="T22" fmla="*/ 9 w 32"/>
                <a:gd name="T23" fmla="*/ 63 h 79"/>
                <a:gd name="T24" fmla="*/ 26 w 32"/>
                <a:gd name="T25" fmla="*/ 79 h 79"/>
                <a:gd name="T26" fmla="*/ 32 w 32"/>
                <a:gd name="T27" fmla="*/ 79 h 79"/>
                <a:gd name="T28" fmla="*/ 32 w 32"/>
                <a:gd name="T29" fmla="*/ 70 h 79"/>
                <a:gd name="T30" fmla="*/ 27 w 32"/>
                <a:gd name="T31" fmla="*/ 71 h 79"/>
                <a:gd name="T32" fmla="*/ 20 w 32"/>
                <a:gd name="T33" fmla="*/ 6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79">
                  <a:moveTo>
                    <a:pt x="20" y="62"/>
                  </a:moveTo>
                  <a:cubicBezTo>
                    <a:pt x="20" y="24"/>
                    <a:pt x="20" y="24"/>
                    <a:pt x="20" y="24"/>
                  </a:cubicBezTo>
                  <a:cubicBezTo>
                    <a:pt x="32" y="24"/>
                    <a:pt x="32" y="24"/>
                    <a:pt x="32" y="24"/>
                  </a:cubicBezTo>
                  <a:cubicBezTo>
                    <a:pt x="32" y="16"/>
                    <a:pt x="32" y="16"/>
                    <a:pt x="32" y="16"/>
                  </a:cubicBezTo>
                  <a:cubicBezTo>
                    <a:pt x="20" y="16"/>
                    <a:pt x="20" y="16"/>
                    <a:pt x="20" y="16"/>
                  </a:cubicBezTo>
                  <a:cubicBezTo>
                    <a:pt x="20" y="0"/>
                    <a:pt x="20" y="0"/>
                    <a:pt x="20" y="0"/>
                  </a:cubicBezTo>
                  <a:cubicBezTo>
                    <a:pt x="9" y="0"/>
                    <a:pt x="9" y="0"/>
                    <a:pt x="9" y="0"/>
                  </a:cubicBezTo>
                  <a:cubicBezTo>
                    <a:pt x="9" y="16"/>
                    <a:pt x="9" y="16"/>
                    <a:pt x="9" y="16"/>
                  </a:cubicBezTo>
                  <a:cubicBezTo>
                    <a:pt x="0" y="16"/>
                    <a:pt x="0" y="16"/>
                    <a:pt x="0" y="16"/>
                  </a:cubicBezTo>
                  <a:cubicBezTo>
                    <a:pt x="0" y="24"/>
                    <a:pt x="0" y="24"/>
                    <a:pt x="0" y="24"/>
                  </a:cubicBezTo>
                  <a:cubicBezTo>
                    <a:pt x="9" y="24"/>
                    <a:pt x="9" y="24"/>
                    <a:pt x="9" y="24"/>
                  </a:cubicBezTo>
                  <a:cubicBezTo>
                    <a:pt x="9" y="63"/>
                    <a:pt x="9" y="63"/>
                    <a:pt x="9" y="63"/>
                  </a:cubicBezTo>
                  <a:cubicBezTo>
                    <a:pt x="9" y="74"/>
                    <a:pt x="14" y="79"/>
                    <a:pt x="26" y="79"/>
                  </a:cubicBezTo>
                  <a:cubicBezTo>
                    <a:pt x="28" y="79"/>
                    <a:pt x="31" y="79"/>
                    <a:pt x="32" y="79"/>
                  </a:cubicBezTo>
                  <a:cubicBezTo>
                    <a:pt x="32" y="70"/>
                    <a:pt x="32" y="70"/>
                    <a:pt x="32" y="70"/>
                  </a:cubicBezTo>
                  <a:cubicBezTo>
                    <a:pt x="30" y="71"/>
                    <a:pt x="29" y="71"/>
                    <a:pt x="27" y="71"/>
                  </a:cubicBezTo>
                  <a:cubicBezTo>
                    <a:pt x="22" y="71"/>
                    <a:pt x="20" y="69"/>
                    <a:pt x="20" y="6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42" name="Freeform 10">
              <a:extLst>
                <a:ext uri="{FF2B5EF4-FFF2-40B4-BE49-F238E27FC236}">
                  <a16:creationId xmlns:a16="http://schemas.microsoft.com/office/drawing/2014/main" id="{4A8BDCE4-6FCC-47A7-9CDE-4AC06B36DA13}"/>
                </a:ext>
              </a:extLst>
            </p:cNvPr>
            <p:cNvSpPr>
              <a:spLocks/>
            </p:cNvSpPr>
            <p:nvPr/>
          </p:nvSpPr>
          <p:spPr bwMode="auto">
            <a:xfrm>
              <a:off x="7275513" y="2816225"/>
              <a:ext cx="338138" cy="1035050"/>
            </a:xfrm>
            <a:custGeom>
              <a:avLst/>
              <a:gdLst>
                <a:gd name="T0" fmla="*/ 24 w 30"/>
                <a:gd name="T1" fmla="*/ 91 h 91"/>
                <a:gd name="T2" fmla="*/ 30 w 30"/>
                <a:gd name="T3" fmla="*/ 91 h 91"/>
                <a:gd name="T4" fmla="*/ 30 w 30"/>
                <a:gd name="T5" fmla="*/ 82 h 91"/>
                <a:gd name="T6" fmla="*/ 26 w 30"/>
                <a:gd name="T7" fmla="*/ 83 h 91"/>
                <a:gd name="T8" fmla="*/ 19 w 30"/>
                <a:gd name="T9" fmla="*/ 74 h 91"/>
                <a:gd name="T10" fmla="*/ 19 w 30"/>
                <a:gd name="T11" fmla="*/ 0 h 91"/>
                <a:gd name="T12" fmla="*/ 0 w 30"/>
                <a:gd name="T13" fmla="*/ 0 h 91"/>
                <a:gd name="T14" fmla="*/ 0 w 30"/>
                <a:gd name="T15" fmla="*/ 8 h 91"/>
                <a:gd name="T16" fmla="*/ 9 w 30"/>
                <a:gd name="T17" fmla="*/ 8 h 91"/>
                <a:gd name="T18" fmla="*/ 9 w 30"/>
                <a:gd name="T19" fmla="*/ 74 h 91"/>
                <a:gd name="T20" fmla="*/ 24 w 30"/>
                <a:gd name="T21"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91">
                  <a:moveTo>
                    <a:pt x="24" y="91"/>
                  </a:moveTo>
                  <a:cubicBezTo>
                    <a:pt x="26" y="91"/>
                    <a:pt x="29" y="91"/>
                    <a:pt x="30" y="91"/>
                  </a:cubicBezTo>
                  <a:cubicBezTo>
                    <a:pt x="30" y="82"/>
                    <a:pt x="30" y="82"/>
                    <a:pt x="30" y="82"/>
                  </a:cubicBezTo>
                  <a:cubicBezTo>
                    <a:pt x="28" y="83"/>
                    <a:pt x="27" y="83"/>
                    <a:pt x="26" y="83"/>
                  </a:cubicBezTo>
                  <a:cubicBezTo>
                    <a:pt x="21" y="83"/>
                    <a:pt x="19" y="80"/>
                    <a:pt x="19" y="74"/>
                  </a:cubicBezTo>
                  <a:cubicBezTo>
                    <a:pt x="19" y="0"/>
                    <a:pt x="19" y="0"/>
                    <a:pt x="19" y="0"/>
                  </a:cubicBezTo>
                  <a:cubicBezTo>
                    <a:pt x="0" y="0"/>
                    <a:pt x="0" y="0"/>
                    <a:pt x="0" y="0"/>
                  </a:cubicBezTo>
                  <a:cubicBezTo>
                    <a:pt x="0" y="8"/>
                    <a:pt x="0" y="8"/>
                    <a:pt x="0" y="8"/>
                  </a:cubicBezTo>
                  <a:cubicBezTo>
                    <a:pt x="9" y="8"/>
                    <a:pt x="9" y="8"/>
                    <a:pt x="9" y="8"/>
                  </a:cubicBezTo>
                  <a:cubicBezTo>
                    <a:pt x="9" y="74"/>
                    <a:pt x="9" y="74"/>
                    <a:pt x="9" y="74"/>
                  </a:cubicBezTo>
                  <a:cubicBezTo>
                    <a:pt x="9" y="85"/>
                    <a:pt x="13" y="91"/>
                    <a:pt x="24" y="91"/>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43" name="Freeform 11">
              <a:extLst>
                <a:ext uri="{FF2B5EF4-FFF2-40B4-BE49-F238E27FC236}">
                  <a16:creationId xmlns:a16="http://schemas.microsoft.com/office/drawing/2014/main" id="{331AB147-689A-43A6-B970-E8CB2BE02D79}"/>
                </a:ext>
              </a:extLst>
            </p:cNvPr>
            <p:cNvSpPr>
              <a:spLocks/>
            </p:cNvSpPr>
            <p:nvPr/>
          </p:nvSpPr>
          <p:spPr bwMode="auto">
            <a:xfrm>
              <a:off x="3603625" y="2781300"/>
              <a:ext cx="911225" cy="1092200"/>
            </a:xfrm>
            <a:custGeom>
              <a:avLst/>
              <a:gdLst>
                <a:gd name="T0" fmla="*/ 28 w 81"/>
                <a:gd name="T1" fmla="*/ 65 h 96"/>
                <a:gd name="T2" fmla="*/ 41 w 81"/>
                <a:gd name="T3" fmla="*/ 74 h 96"/>
                <a:gd name="T4" fmla="*/ 52 w 81"/>
                <a:gd name="T5" fmla="*/ 68 h 96"/>
                <a:gd name="T6" fmla="*/ 36 w 81"/>
                <a:gd name="T7" fmla="*/ 59 h 96"/>
                <a:gd name="T8" fmla="*/ 12 w 81"/>
                <a:gd name="T9" fmla="*/ 50 h 96"/>
                <a:gd name="T10" fmla="*/ 1 w 81"/>
                <a:gd name="T11" fmla="*/ 29 h 96"/>
                <a:gd name="T12" fmla="*/ 39 w 81"/>
                <a:gd name="T13" fmla="*/ 0 h 96"/>
                <a:gd name="T14" fmla="*/ 78 w 81"/>
                <a:gd name="T15" fmla="*/ 29 h 96"/>
                <a:gd name="T16" fmla="*/ 51 w 81"/>
                <a:gd name="T17" fmla="*/ 29 h 96"/>
                <a:gd name="T18" fmla="*/ 39 w 81"/>
                <a:gd name="T19" fmla="*/ 21 h 96"/>
                <a:gd name="T20" fmla="*/ 30 w 81"/>
                <a:gd name="T21" fmla="*/ 27 h 96"/>
                <a:gd name="T22" fmla="*/ 43 w 81"/>
                <a:gd name="T23" fmla="*/ 35 h 96"/>
                <a:gd name="T24" fmla="*/ 69 w 81"/>
                <a:gd name="T25" fmla="*/ 43 h 96"/>
                <a:gd name="T26" fmla="*/ 81 w 81"/>
                <a:gd name="T27" fmla="*/ 65 h 96"/>
                <a:gd name="T28" fmla="*/ 40 w 81"/>
                <a:gd name="T29" fmla="*/ 96 h 96"/>
                <a:gd name="T30" fmla="*/ 0 w 81"/>
                <a:gd name="T31" fmla="*/ 65 h 96"/>
                <a:gd name="T32" fmla="*/ 28 w 81"/>
                <a:gd name="T33" fmla="*/ 6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 h="96">
                  <a:moveTo>
                    <a:pt x="28" y="65"/>
                  </a:moveTo>
                  <a:cubicBezTo>
                    <a:pt x="29" y="72"/>
                    <a:pt x="33" y="74"/>
                    <a:pt x="41" y="74"/>
                  </a:cubicBezTo>
                  <a:cubicBezTo>
                    <a:pt x="48" y="74"/>
                    <a:pt x="52" y="72"/>
                    <a:pt x="52" y="68"/>
                  </a:cubicBezTo>
                  <a:cubicBezTo>
                    <a:pt x="52" y="62"/>
                    <a:pt x="47" y="62"/>
                    <a:pt x="36" y="59"/>
                  </a:cubicBezTo>
                  <a:cubicBezTo>
                    <a:pt x="24" y="55"/>
                    <a:pt x="15" y="53"/>
                    <a:pt x="12" y="50"/>
                  </a:cubicBezTo>
                  <a:cubicBezTo>
                    <a:pt x="5" y="45"/>
                    <a:pt x="1" y="38"/>
                    <a:pt x="1" y="29"/>
                  </a:cubicBezTo>
                  <a:cubicBezTo>
                    <a:pt x="1" y="11"/>
                    <a:pt x="15" y="0"/>
                    <a:pt x="39" y="0"/>
                  </a:cubicBezTo>
                  <a:cubicBezTo>
                    <a:pt x="63" y="0"/>
                    <a:pt x="77" y="10"/>
                    <a:pt x="78" y="29"/>
                  </a:cubicBezTo>
                  <a:cubicBezTo>
                    <a:pt x="51" y="29"/>
                    <a:pt x="51" y="29"/>
                    <a:pt x="51" y="29"/>
                  </a:cubicBezTo>
                  <a:cubicBezTo>
                    <a:pt x="50" y="23"/>
                    <a:pt x="46" y="21"/>
                    <a:pt x="39" y="21"/>
                  </a:cubicBezTo>
                  <a:cubicBezTo>
                    <a:pt x="33" y="21"/>
                    <a:pt x="30" y="23"/>
                    <a:pt x="30" y="27"/>
                  </a:cubicBezTo>
                  <a:cubicBezTo>
                    <a:pt x="30" y="32"/>
                    <a:pt x="34" y="33"/>
                    <a:pt x="43" y="35"/>
                  </a:cubicBezTo>
                  <a:cubicBezTo>
                    <a:pt x="54" y="38"/>
                    <a:pt x="63" y="40"/>
                    <a:pt x="69" y="43"/>
                  </a:cubicBezTo>
                  <a:cubicBezTo>
                    <a:pt x="77" y="49"/>
                    <a:pt x="81" y="55"/>
                    <a:pt x="81" y="65"/>
                  </a:cubicBezTo>
                  <a:cubicBezTo>
                    <a:pt x="81" y="84"/>
                    <a:pt x="66" y="96"/>
                    <a:pt x="40" y="96"/>
                  </a:cubicBezTo>
                  <a:cubicBezTo>
                    <a:pt x="16" y="96"/>
                    <a:pt x="1" y="84"/>
                    <a:pt x="0" y="65"/>
                  </a:cubicBezTo>
                  <a:lnTo>
                    <a:pt x="28" y="65"/>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44" name="Freeform 12">
              <a:extLst>
                <a:ext uri="{FF2B5EF4-FFF2-40B4-BE49-F238E27FC236}">
                  <a16:creationId xmlns:a16="http://schemas.microsoft.com/office/drawing/2014/main" id="{AA8CC35E-627A-410D-9CC1-5DFD27072BFF}"/>
                </a:ext>
              </a:extLst>
            </p:cNvPr>
            <p:cNvSpPr>
              <a:spLocks/>
            </p:cNvSpPr>
            <p:nvPr/>
          </p:nvSpPr>
          <p:spPr bwMode="auto">
            <a:xfrm>
              <a:off x="1698625" y="2781300"/>
              <a:ext cx="1014413" cy="1092200"/>
            </a:xfrm>
            <a:custGeom>
              <a:avLst/>
              <a:gdLst>
                <a:gd name="T0" fmla="*/ 90 w 90"/>
                <a:gd name="T1" fmla="*/ 58 h 96"/>
                <a:gd name="T2" fmla="*/ 46 w 90"/>
                <a:gd name="T3" fmla="*/ 96 h 96"/>
                <a:gd name="T4" fmla="*/ 0 w 90"/>
                <a:gd name="T5" fmla="*/ 48 h 96"/>
                <a:gd name="T6" fmla="*/ 46 w 90"/>
                <a:gd name="T7" fmla="*/ 0 h 96"/>
                <a:gd name="T8" fmla="*/ 89 w 90"/>
                <a:gd name="T9" fmla="*/ 37 h 96"/>
                <a:gd name="T10" fmla="*/ 62 w 90"/>
                <a:gd name="T11" fmla="*/ 37 h 96"/>
                <a:gd name="T12" fmla="*/ 46 w 90"/>
                <a:gd name="T13" fmla="*/ 23 h 96"/>
                <a:gd name="T14" fmla="*/ 29 w 90"/>
                <a:gd name="T15" fmla="*/ 48 h 96"/>
                <a:gd name="T16" fmla="*/ 47 w 90"/>
                <a:gd name="T17" fmla="*/ 73 h 96"/>
                <a:gd name="T18" fmla="*/ 62 w 90"/>
                <a:gd name="T19" fmla="*/ 58 h 96"/>
                <a:gd name="T20" fmla="*/ 90 w 90"/>
                <a:gd name="T21" fmla="*/ 5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 h="96">
                  <a:moveTo>
                    <a:pt x="90" y="58"/>
                  </a:moveTo>
                  <a:cubicBezTo>
                    <a:pt x="88" y="82"/>
                    <a:pt x="72" y="96"/>
                    <a:pt x="46" y="96"/>
                  </a:cubicBezTo>
                  <a:cubicBezTo>
                    <a:pt x="17" y="96"/>
                    <a:pt x="0" y="78"/>
                    <a:pt x="0" y="48"/>
                  </a:cubicBezTo>
                  <a:cubicBezTo>
                    <a:pt x="0" y="18"/>
                    <a:pt x="17" y="0"/>
                    <a:pt x="46" y="0"/>
                  </a:cubicBezTo>
                  <a:cubicBezTo>
                    <a:pt x="72" y="0"/>
                    <a:pt x="88" y="13"/>
                    <a:pt x="89" y="37"/>
                  </a:cubicBezTo>
                  <a:cubicBezTo>
                    <a:pt x="62" y="37"/>
                    <a:pt x="62" y="37"/>
                    <a:pt x="62" y="37"/>
                  </a:cubicBezTo>
                  <a:cubicBezTo>
                    <a:pt x="61" y="28"/>
                    <a:pt x="55" y="23"/>
                    <a:pt x="46" y="23"/>
                  </a:cubicBezTo>
                  <a:cubicBezTo>
                    <a:pt x="35" y="23"/>
                    <a:pt x="29" y="31"/>
                    <a:pt x="29" y="48"/>
                  </a:cubicBezTo>
                  <a:cubicBezTo>
                    <a:pt x="29" y="65"/>
                    <a:pt x="35" y="73"/>
                    <a:pt x="47" y="73"/>
                  </a:cubicBezTo>
                  <a:cubicBezTo>
                    <a:pt x="56" y="73"/>
                    <a:pt x="61" y="68"/>
                    <a:pt x="62" y="58"/>
                  </a:cubicBezTo>
                  <a:lnTo>
                    <a:pt x="90" y="58"/>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45" name="Freeform 13">
              <a:extLst>
                <a:ext uri="{FF2B5EF4-FFF2-40B4-BE49-F238E27FC236}">
                  <a16:creationId xmlns:a16="http://schemas.microsoft.com/office/drawing/2014/main" id="{A6104163-5896-46B6-AC7E-D2E4D25EC2F7}"/>
                </a:ext>
              </a:extLst>
            </p:cNvPr>
            <p:cNvSpPr>
              <a:spLocks/>
            </p:cNvSpPr>
            <p:nvPr/>
          </p:nvSpPr>
          <p:spPr bwMode="auto">
            <a:xfrm>
              <a:off x="2644775" y="2816225"/>
              <a:ext cx="1014413" cy="1023938"/>
            </a:xfrm>
            <a:custGeom>
              <a:avLst/>
              <a:gdLst>
                <a:gd name="T0" fmla="*/ 0 w 639"/>
                <a:gd name="T1" fmla="*/ 0 h 645"/>
                <a:gd name="T2" fmla="*/ 206 w 639"/>
                <a:gd name="T3" fmla="*/ 0 h 645"/>
                <a:gd name="T4" fmla="*/ 320 w 639"/>
                <a:gd name="T5" fmla="*/ 415 h 645"/>
                <a:gd name="T6" fmla="*/ 433 w 639"/>
                <a:gd name="T7" fmla="*/ 0 h 645"/>
                <a:gd name="T8" fmla="*/ 639 w 639"/>
                <a:gd name="T9" fmla="*/ 0 h 645"/>
                <a:gd name="T10" fmla="*/ 419 w 639"/>
                <a:gd name="T11" fmla="*/ 645 h 645"/>
                <a:gd name="T12" fmla="*/ 213 w 639"/>
                <a:gd name="T13" fmla="*/ 645 h 645"/>
                <a:gd name="T14" fmla="*/ 0 w 639"/>
                <a:gd name="T15" fmla="*/ 0 h 6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9" h="645">
                  <a:moveTo>
                    <a:pt x="0" y="0"/>
                  </a:moveTo>
                  <a:lnTo>
                    <a:pt x="206" y="0"/>
                  </a:lnTo>
                  <a:lnTo>
                    <a:pt x="320" y="415"/>
                  </a:lnTo>
                  <a:lnTo>
                    <a:pt x="433" y="0"/>
                  </a:lnTo>
                  <a:lnTo>
                    <a:pt x="639" y="0"/>
                  </a:lnTo>
                  <a:lnTo>
                    <a:pt x="419" y="645"/>
                  </a:lnTo>
                  <a:lnTo>
                    <a:pt x="213" y="645"/>
                  </a:lnTo>
                  <a:lnTo>
                    <a:pt x="0" y="0"/>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46" name="Freeform 14">
              <a:extLst>
                <a:ext uri="{FF2B5EF4-FFF2-40B4-BE49-F238E27FC236}">
                  <a16:creationId xmlns:a16="http://schemas.microsoft.com/office/drawing/2014/main" id="{481FE757-1FA8-48AB-BF72-DF393E4A3A65}"/>
                </a:ext>
              </a:extLst>
            </p:cNvPr>
            <p:cNvSpPr>
              <a:spLocks/>
            </p:cNvSpPr>
            <p:nvPr/>
          </p:nvSpPr>
          <p:spPr bwMode="auto">
            <a:xfrm>
              <a:off x="279400" y="2781300"/>
              <a:ext cx="1295400" cy="1092200"/>
            </a:xfrm>
            <a:custGeom>
              <a:avLst/>
              <a:gdLst>
                <a:gd name="T0" fmla="*/ 4 w 115"/>
                <a:gd name="T1" fmla="*/ 42 h 96"/>
                <a:gd name="T2" fmla="*/ 0 w 115"/>
                <a:gd name="T3" fmla="*/ 33 h 96"/>
                <a:gd name="T4" fmla="*/ 4 w 115"/>
                <a:gd name="T5" fmla="*/ 23 h 96"/>
                <a:gd name="T6" fmla="*/ 22 w 115"/>
                <a:gd name="T7" fmla="*/ 4 h 96"/>
                <a:gd name="T8" fmla="*/ 32 w 115"/>
                <a:gd name="T9" fmla="*/ 0 h 96"/>
                <a:gd name="T10" fmla="*/ 42 w 115"/>
                <a:gd name="T11" fmla="*/ 4 h 96"/>
                <a:gd name="T12" fmla="*/ 58 w 115"/>
                <a:gd name="T13" fmla="*/ 20 h 96"/>
                <a:gd name="T14" fmla="*/ 73 w 115"/>
                <a:gd name="T15" fmla="*/ 4 h 96"/>
                <a:gd name="T16" fmla="*/ 83 w 115"/>
                <a:gd name="T17" fmla="*/ 0 h 96"/>
                <a:gd name="T18" fmla="*/ 93 w 115"/>
                <a:gd name="T19" fmla="*/ 4 h 96"/>
                <a:gd name="T20" fmla="*/ 111 w 115"/>
                <a:gd name="T21" fmla="*/ 23 h 96"/>
                <a:gd name="T22" fmla="*/ 115 w 115"/>
                <a:gd name="T23" fmla="*/ 33 h 96"/>
                <a:gd name="T24" fmla="*/ 111 w 115"/>
                <a:gd name="T25" fmla="*/ 42 h 96"/>
                <a:gd name="T26" fmla="*/ 58 w 115"/>
                <a:gd name="T27" fmla="*/ 96 h 96"/>
                <a:gd name="T28" fmla="*/ 57 w 115"/>
                <a:gd name="T29" fmla="*/ 96 h 96"/>
                <a:gd name="T30" fmla="*/ 4 w 115"/>
                <a:gd name="T31"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 h="96">
                  <a:moveTo>
                    <a:pt x="4" y="42"/>
                  </a:moveTo>
                  <a:cubicBezTo>
                    <a:pt x="1" y="40"/>
                    <a:pt x="0" y="36"/>
                    <a:pt x="0" y="33"/>
                  </a:cubicBezTo>
                  <a:cubicBezTo>
                    <a:pt x="0" y="29"/>
                    <a:pt x="1" y="25"/>
                    <a:pt x="4" y="23"/>
                  </a:cubicBezTo>
                  <a:cubicBezTo>
                    <a:pt x="22" y="4"/>
                    <a:pt x="22" y="4"/>
                    <a:pt x="22" y="4"/>
                  </a:cubicBezTo>
                  <a:cubicBezTo>
                    <a:pt x="25" y="1"/>
                    <a:pt x="29" y="0"/>
                    <a:pt x="32" y="0"/>
                  </a:cubicBezTo>
                  <a:cubicBezTo>
                    <a:pt x="36" y="0"/>
                    <a:pt x="39" y="1"/>
                    <a:pt x="42" y="4"/>
                  </a:cubicBezTo>
                  <a:cubicBezTo>
                    <a:pt x="58" y="20"/>
                    <a:pt x="58" y="20"/>
                    <a:pt x="58" y="20"/>
                  </a:cubicBezTo>
                  <a:cubicBezTo>
                    <a:pt x="73" y="4"/>
                    <a:pt x="73" y="4"/>
                    <a:pt x="73" y="4"/>
                  </a:cubicBezTo>
                  <a:cubicBezTo>
                    <a:pt x="76" y="1"/>
                    <a:pt x="79" y="0"/>
                    <a:pt x="83" y="0"/>
                  </a:cubicBezTo>
                  <a:cubicBezTo>
                    <a:pt x="87" y="0"/>
                    <a:pt x="90" y="1"/>
                    <a:pt x="93" y="4"/>
                  </a:cubicBezTo>
                  <a:cubicBezTo>
                    <a:pt x="111" y="23"/>
                    <a:pt x="111" y="23"/>
                    <a:pt x="111" y="23"/>
                  </a:cubicBezTo>
                  <a:cubicBezTo>
                    <a:pt x="114" y="25"/>
                    <a:pt x="115" y="29"/>
                    <a:pt x="115" y="33"/>
                  </a:cubicBezTo>
                  <a:cubicBezTo>
                    <a:pt x="115" y="36"/>
                    <a:pt x="114" y="40"/>
                    <a:pt x="111" y="42"/>
                  </a:cubicBezTo>
                  <a:cubicBezTo>
                    <a:pt x="58" y="96"/>
                    <a:pt x="58" y="96"/>
                    <a:pt x="58" y="96"/>
                  </a:cubicBezTo>
                  <a:cubicBezTo>
                    <a:pt x="57" y="96"/>
                    <a:pt x="57" y="96"/>
                    <a:pt x="57" y="96"/>
                  </a:cubicBezTo>
                  <a:lnTo>
                    <a:pt x="4" y="42"/>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grpSp>
    </p:spTree>
    <p:extLst>
      <p:ext uri="{BB962C8B-B14F-4D97-AF65-F5344CB8AC3E}">
        <p14:creationId xmlns:p14="http://schemas.microsoft.com/office/powerpoint/2010/main" val="34373893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able of Contents">
    <p:bg>
      <p:bgPr>
        <a:solidFill>
          <a:srgbClr val="064E69"/>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0600167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8" name="think-cell Slide" r:id="rId4" imgW="498" imgH="499" progId="TCLayout.ActiveDocument.1">
                  <p:embed/>
                </p:oleObj>
              </mc:Choice>
              <mc:Fallback>
                <p:oleObj name="think-cell Slide" r:id="rId4" imgW="498" imgH="49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Picture Placeholder 5"/>
          <p:cNvSpPr>
            <a:spLocks noGrp="1"/>
          </p:cNvSpPr>
          <p:nvPr>
            <p:ph type="pic" sz="quarter" idx="13" hasCustomPrompt="1"/>
          </p:nvPr>
        </p:nvSpPr>
        <p:spPr>
          <a:xfrm>
            <a:off x="0" y="0"/>
            <a:ext cx="4990623" cy="6858000"/>
          </a:xfrm>
          <a:prstGeom prst="rect">
            <a:avLst/>
          </a:prstGeom>
          <a:solidFill>
            <a:schemeClr val="bg2"/>
          </a:solidFill>
        </p:spPr>
        <p:txBody>
          <a:bodyPr anchor="ctr"/>
          <a:lstStyle>
            <a:lvl1pPr algn="ctr">
              <a:defRPr sz="3200">
                <a:solidFill>
                  <a:schemeClr val="bg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stStyle>
          <a:p>
            <a:r>
              <a:rPr lang="en-US" dirty="0"/>
              <a:t>IMAGE</a:t>
            </a:r>
          </a:p>
        </p:txBody>
      </p:sp>
      <p:sp>
        <p:nvSpPr>
          <p:cNvPr id="3" name="Rectangle 2"/>
          <p:cNvSpPr/>
          <p:nvPr userDrawn="1"/>
        </p:nvSpPr>
        <p:spPr>
          <a:xfrm flipH="1">
            <a:off x="4990624" y="0"/>
            <a:ext cx="157730" cy="6858000"/>
          </a:xfrm>
          <a:prstGeom prst="rect">
            <a:avLst/>
          </a:prstGeom>
          <a:solidFill>
            <a:srgbClr val="043A4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solidFill>
                <a:schemeClr val="bg2">
                  <a:lumMod val="40000"/>
                  <a:lumOff val="60000"/>
                </a:schemeClr>
              </a:solidFill>
              <a:latin typeface="Arial" panose="020B0604020202020204" pitchFamily="34" charset="0"/>
              <a:cs typeface="Arial" panose="020B0604020202020204" pitchFamily="34" charset="0"/>
              <a:sym typeface="Arial" panose="020B0604020202020204" pitchFamily="34" charset="0"/>
            </a:endParaRPr>
          </a:p>
        </p:txBody>
      </p:sp>
      <p:sp>
        <p:nvSpPr>
          <p:cNvPr id="4" name="Rectangle 3"/>
          <p:cNvSpPr/>
          <p:nvPr userDrawn="1"/>
        </p:nvSpPr>
        <p:spPr>
          <a:xfrm>
            <a:off x="5148355" y="1"/>
            <a:ext cx="7042059" cy="23612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Arial" panose="020B0604020202020204" pitchFamily="34" charset="0"/>
              <a:cs typeface="Arial" panose="020B0604020202020204" pitchFamily="34" charset="0"/>
              <a:sym typeface="Arial" panose="020B0604020202020204" pitchFamily="34" charset="0"/>
            </a:endParaRPr>
          </a:p>
        </p:txBody>
      </p:sp>
      <p:sp>
        <p:nvSpPr>
          <p:cNvPr id="8" name="Title 1"/>
          <p:cNvSpPr>
            <a:spLocks noGrp="1"/>
          </p:cNvSpPr>
          <p:nvPr>
            <p:ph type="ctrTitle" hasCustomPrompt="1"/>
          </p:nvPr>
        </p:nvSpPr>
        <p:spPr>
          <a:xfrm>
            <a:off x="5713191" y="1347025"/>
            <a:ext cx="6087634" cy="707944"/>
          </a:xfrm>
          <a:prstGeom prst="rect">
            <a:avLst/>
          </a:prstGeom>
        </p:spPr>
        <p:txBody>
          <a:bodyPr lIns="0" anchor="t"/>
          <a:lstStyle>
            <a:lvl1pPr marL="0" indent="0" algn="l" defTabSz="914400" rtl="0" eaLnBrk="1" latinLnBrk="0" hangingPunct="1">
              <a:lnSpc>
                <a:spcPct val="80000"/>
              </a:lnSpc>
              <a:spcBef>
                <a:spcPts val="1200"/>
              </a:spcBef>
              <a:spcAft>
                <a:spcPts val="0"/>
              </a:spcAft>
              <a:buClrTx/>
              <a:buFontTx/>
              <a:buNone/>
              <a:tabLst>
                <a:tab pos="1201738" algn="l"/>
              </a:tabLst>
              <a:defRPr lang="en-US" sz="5400" b="1" i="0" kern="1200" baseline="0" dirty="0">
                <a:solidFill>
                  <a:schemeClr val="tx2"/>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stStyle>
          <a:p>
            <a:r>
              <a:rPr lang="en-US" dirty="0"/>
              <a:t>Table of Contents</a:t>
            </a:r>
          </a:p>
        </p:txBody>
      </p:sp>
      <p:sp>
        <p:nvSpPr>
          <p:cNvPr id="9" name="Text Placeholder 7"/>
          <p:cNvSpPr>
            <a:spLocks noGrp="1"/>
          </p:cNvSpPr>
          <p:nvPr>
            <p:ph type="body" sz="quarter" idx="12" hasCustomPrompt="1"/>
          </p:nvPr>
        </p:nvSpPr>
        <p:spPr>
          <a:xfrm>
            <a:off x="5713191" y="2623839"/>
            <a:ext cx="5578857" cy="431800"/>
          </a:xfrm>
          <a:prstGeom prst="rect">
            <a:avLst/>
          </a:prstGeom>
        </p:spPr>
        <p:txBody>
          <a:bodyPr lIns="0" anchor="t" anchorCtr="0"/>
          <a:lstStyle>
            <a:lvl1pPr algn="l">
              <a:defRPr sz="2400" baseline="0">
                <a:solidFill>
                  <a:srgbClr val="FFFFFF"/>
                </a:solidFill>
                <a:latin typeface="Arial" panose="020B0604020202020204" pitchFamily="34" charset="0"/>
                <a:cs typeface="Arial" panose="020B0604020202020204" pitchFamily="34" charset="0"/>
                <a:sym typeface="Arial" panose="020B0604020202020204" pitchFamily="34" charset="0"/>
              </a:defRPr>
            </a:lvl1pPr>
          </a:lstStyle>
          <a:p>
            <a:pPr lvl="0"/>
            <a:r>
              <a:rPr lang="en-US" dirty="0"/>
              <a:t>Page titles</a:t>
            </a:r>
          </a:p>
        </p:txBody>
      </p:sp>
    </p:spTree>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ain Internal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8452118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2" name="think-cell Slide" r:id="rId4" imgW="498" imgH="499" progId="TCLayout.ActiveDocument.1">
                  <p:embed/>
                </p:oleObj>
              </mc:Choice>
              <mc:Fallback>
                <p:oleObj name="think-cell Slide" r:id="rId4" imgW="498" imgH="499"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5" name="Rectangle 54"/>
          <p:cNvSpPr/>
          <p:nvPr/>
        </p:nvSpPr>
        <p:spPr>
          <a:xfrm>
            <a:off x="0" y="1"/>
            <a:ext cx="12191996" cy="1554480"/>
          </a:xfrm>
          <a:prstGeom prst="rect">
            <a:avLst/>
          </a:prstGeom>
          <a:solidFill>
            <a:srgbClr val="064E69"/>
          </a:solidFill>
        </p:spPr>
        <p:txBody>
          <a:bodyPr wrap="square" lIns="548640" tIns="0" rIns="91440" bIns="0" anchor="ctr">
            <a:noAutofit/>
          </a:bodyPr>
          <a:lstStyle/>
          <a:p>
            <a:endParaRPr lang="en-US" sz="4000" b="1" dirty="0">
              <a:solidFill>
                <a:schemeClr val="bg1"/>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56" name="Rectangle 55"/>
          <p:cNvSpPr/>
          <p:nvPr/>
        </p:nvSpPr>
        <p:spPr>
          <a:xfrm>
            <a:off x="-1" y="1448246"/>
            <a:ext cx="12192127" cy="106731"/>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1" dirty="0">
              <a:latin typeface="Arial" panose="020B0604020202020204" pitchFamily="34" charset="0"/>
              <a:cs typeface="Arial" panose="020B0604020202020204" pitchFamily="34" charset="0"/>
              <a:sym typeface="Arial" panose="020B0604020202020204" pitchFamily="34" charset="0"/>
            </a:endParaRPr>
          </a:p>
        </p:txBody>
      </p:sp>
      <p:sp>
        <p:nvSpPr>
          <p:cNvPr id="57" name="Title 1"/>
          <p:cNvSpPr>
            <a:spLocks noGrp="1"/>
          </p:cNvSpPr>
          <p:nvPr>
            <p:ph type="title" hasCustomPrompt="1"/>
          </p:nvPr>
        </p:nvSpPr>
        <p:spPr>
          <a:xfrm>
            <a:off x="457200" y="296379"/>
            <a:ext cx="9688623" cy="476805"/>
          </a:xfrm>
          <a:prstGeom prst="rect">
            <a:avLst/>
          </a:prstGeom>
        </p:spPr>
        <p:txBody>
          <a:bodyPr tIns="0" bIns="0" anchor="t" anchorCtr="0"/>
          <a:lstStyle>
            <a:lvl1pPr algn="l">
              <a:defRPr sz="3000" b="1">
                <a:solidFill>
                  <a:schemeClr val="bg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stStyle>
          <a:p>
            <a:r>
              <a:rPr lang="en-US" dirty="0"/>
              <a:t>Title</a:t>
            </a:r>
          </a:p>
        </p:txBody>
      </p:sp>
      <p:sp>
        <p:nvSpPr>
          <p:cNvPr id="58" name="Text Placeholder 9"/>
          <p:cNvSpPr>
            <a:spLocks noGrp="1"/>
          </p:cNvSpPr>
          <p:nvPr>
            <p:ph type="body" sz="quarter" idx="11" hasCustomPrompt="1"/>
          </p:nvPr>
        </p:nvSpPr>
        <p:spPr>
          <a:xfrm>
            <a:off x="457200" y="860151"/>
            <a:ext cx="9688622" cy="423094"/>
          </a:xfrm>
          <a:prstGeom prst="rect">
            <a:avLst/>
          </a:prstGeom>
        </p:spPr>
        <p:txBody>
          <a:bodyPr anchor="ctr"/>
          <a:lstStyle>
            <a:lvl1pPr algn="l">
              <a:lnSpc>
                <a:spcPct val="90000"/>
              </a:lnSpc>
              <a:spcBef>
                <a:spcPts val="0"/>
              </a:spcBef>
              <a:defRPr sz="200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pPr lvl="0"/>
            <a:r>
              <a:rPr lang="en-US" dirty="0"/>
              <a:t>Subtitle</a:t>
            </a:r>
          </a:p>
        </p:txBody>
      </p:sp>
      <p:cxnSp>
        <p:nvCxnSpPr>
          <p:cNvPr id="59" name="Straight Connector 58"/>
          <p:cNvCxnSpPr/>
          <p:nvPr/>
        </p:nvCxnSpPr>
        <p:spPr>
          <a:xfrm>
            <a:off x="10363874" y="222724"/>
            <a:ext cx="0" cy="1032988"/>
          </a:xfrm>
          <a:prstGeom prst="line">
            <a:avLst/>
          </a:prstGeom>
          <a:ln w="15875" cmpd="sng">
            <a:solidFill>
              <a:schemeClr val="accent2">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63" name="TextBox 62"/>
          <p:cNvSpPr txBox="1">
            <a:spLocks/>
          </p:cNvSpPr>
          <p:nvPr/>
        </p:nvSpPr>
        <p:spPr>
          <a:xfrm>
            <a:off x="11008872" y="633221"/>
            <a:ext cx="224212" cy="176024"/>
          </a:xfrm>
          <a:custGeom>
            <a:avLst/>
            <a:gdLst/>
            <a:ahLst/>
            <a:cxnLst/>
            <a:rect l="l" t="t" r="r" b="b"/>
            <a:pathLst>
              <a:path w="486642" h="382152">
                <a:moveTo>
                  <a:pt x="150943" y="0"/>
                </a:moveTo>
                <a:cubicBezTo>
                  <a:pt x="191582" y="0"/>
                  <a:pt x="224490" y="12368"/>
                  <a:pt x="232082" y="39810"/>
                </a:cubicBezTo>
                <a:lnTo>
                  <a:pt x="232262" y="41192"/>
                </a:lnTo>
                <a:lnTo>
                  <a:pt x="244394" y="27828"/>
                </a:lnTo>
                <a:cubicBezTo>
                  <a:pt x="265912" y="9086"/>
                  <a:pt x="296328" y="0"/>
                  <a:pt x="331918" y="0"/>
                </a:cubicBezTo>
                <a:cubicBezTo>
                  <a:pt x="355140" y="0"/>
                  <a:pt x="375838" y="4038"/>
                  <a:pt x="390730" y="12620"/>
                </a:cubicBezTo>
                <a:lnTo>
                  <a:pt x="399550" y="19037"/>
                </a:lnTo>
                <a:lnTo>
                  <a:pt x="415123" y="9213"/>
                </a:lnTo>
                <a:cubicBezTo>
                  <a:pt x="421204" y="6846"/>
                  <a:pt x="427956" y="5553"/>
                  <a:pt x="435150" y="5553"/>
                </a:cubicBezTo>
                <a:cubicBezTo>
                  <a:pt x="464430" y="5553"/>
                  <a:pt x="486642" y="26250"/>
                  <a:pt x="486642" y="53511"/>
                </a:cubicBezTo>
                <a:cubicBezTo>
                  <a:pt x="486642" y="80772"/>
                  <a:pt x="464430" y="101974"/>
                  <a:pt x="435150" y="101974"/>
                </a:cubicBezTo>
                <a:cubicBezTo>
                  <a:pt x="420763" y="101974"/>
                  <a:pt x="408142" y="96674"/>
                  <a:pt x="399118" y="87965"/>
                </a:cubicBezTo>
                <a:lnTo>
                  <a:pt x="397141" y="85099"/>
                </a:lnTo>
                <a:lnTo>
                  <a:pt x="387023" y="90979"/>
                </a:lnTo>
                <a:cubicBezTo>
                  <a:pt x="381675" y="92887"/>
                  <a:pt x="375838" y="93897"/>
                  <a:pt x="369780" y="93897"/>
                </a:cubicBezTo>
                <a:cubicBezTo>
                  <a:pt x="355140" y="93897"/>
                  <a:pt x="342015" y="89354"/>
                  <a:pt x="335452" y="81781"/>
                </a:cubicBezTo>
                <a:cubicBezTo>
                  <a:pt x="350092" y="78247"/>
                  <a:pt x="359179" y="66132"/>
                  <a:pt x="359179" y="42910"/>
                </a:cubicBezTo>
                <a:cubicBezTo>
                  <a:pt x="359179" y="22717"/>
                  <a:pt x="350597" y="8077"/>
                  <a:pt x="331918" y="8077"/>
                </a:cubicBezTo>
                <a:cubicBezTo>
                  <a:pt x="308696" y="8077"/>
                  <a:pt x="300619" y="29784"/>
                  <a:pt x="300619" y="58054"/>
                </a:cubicBezTo>
                <a:lnTo>
                  <a:pt x="300619" y="132264"/>
                </a:lnTo>
                <a:lnTo>
                  <a:pt x="363217" y="132264"/>
                </a:lnTo>
                <a:lnTo>
                  <a:pt x="360693" y="144884"/>
                </a:lnTo>
                <a:lnTo>
                  <a:pt x="300619" y="144884"/>
                </a:lnTo>
                <a:lnTo>
                  <a:pt x="300619" y="327126"/>
                </a:lnTo>
                <a:cubicBezTo>
                  <a:pt x="300619" y="360445"/>
                  <a:pt x="312230" y="369027"/>
                  <a:pt x="339490" y="381142"/>
                </a:cubicBezTo>
                <a:lnTo>
                  <a:pt x="339490" y="382152"/>
                </a:lnTo>
                <a:lnTo>
                  <a:pt x="186529" y="382152"/>
                </a:lnTo>
                <a:lnTo>
                  <a:pt x="186529" y="381142"/>
                </a:lnTo>
                <a:cubicBezTo>
                  <a:pt x="208741" y="367007"/>
                  <a:pt x="210255" y="360445"/>
                  <a:pt x="210255" y="327126"/>
                </a:cubicBezTo>
                <a:lnTo>
                  <a:pt x="210255" y="144884"/>
                </a:lnTo>
                <a:lnTo>
                  <a:pt x="180976" y="144884"/>
                </a:lnTo>
                <a:lnTo>
                  <a:pt x="180976" y="139331"/>
                </a:lnTo>
                <a:lnTo>
                  <a:pt x="210255" y="128225"/>
                </a:lnTo>
                <a:lnTo>
                  <a:pt x="210255" y="113585"/>
                </a:lnTo>
                <a:lnTo>
                  <a:pt x="212504" y="87227"/>
                </a:lnTo>
                <a:lnTo>
                  <a:pt x="206048" y="90979"/>
                </a:lnTo>
                <a:cubicBezTo>
                  <a:pt x="200700" y="92887"/>
                  <a:pt x="194863" y="93897"/>
                  <a:pt x="188805" y="93897"/>
                </a:cubicBezTo>
                <a:cubicBezTo>
                  <a:pt x="174165" y="93897"/>
                  <a:pt x="161040" y="89354"/>
                  <a:pt x="154477" y="81781"/>
                </a:cubicBezTo>
                <a:cubicBezTo>
                  <a:pt x="169117" y="78247"/>
                  <a:pt x="178204" y="66132"/>
                  <a:pt x="178204" y="42910"/>
                </a:cubicBezTo>
                <a:cubicBezTo>
                  <a:pt x="178204" y="22717"/>
                  <a:pt x="169622" y="8077"/>
                  <a:pt x="150943" y="8077"/>
                </a:cubicBezTo>
                <a:cubicBezTo>
                  <a:pt x="127721" y="8077"/>
                  <a:pt x="119644" y="29784"/>
                  <a:pt x="119644" y="58054"/>
                </a:cubicBezTo>
                <a:lnTo>
                  <a:pt x="119644" y="132264"/>
                </a:lnTo>
                <a:lnTo>
                  <a:pt x="182242" y="132264"/>
                </a:lnTo>
                <a:lnTo>
                  <a:pt x="179718" y="144884"/>
                </a:lnTo>
                <a:lnTo>
                  <a:pt x="119644" y="144884"/>
                </a:lnTo>
                <a:lnTo>
                  <a:pt x="119644" y="327126"/>
                </a:lnTo>
                <a:cubicBezTo>
                  <a:pt x="119644" y="360445"/>
                  <a:pt x="131255" y="369027"/>
                  <a:pt x="158516" y="381142"/>
                </a:cubicBezTo>
                <a:lnTo>
                  <a:pt x="158516" y="382152"/>
                </a:lnTo>
                <a:lnTo>
                  <a:pt x="5554" y="382152"/>
                </a:lnTo>
                <a:lnTo>
                  <a:pt x="5554" y="381142"/>
                </a:lnTo>
                <a:cubicBezTo>
                  <a:pt x="27766" y="367007"/>
                  <a:pt x="29280" y="360445"/>
                  <a:pt x="29280" y="327126"/>
                </a:cubicBezTo>
                <a:lnTo>
                  <a:pt x="29280" y="144884"/>
                </a:lnTo>
                <a:lnTo>
                  <a:pt x="0" y="144884"/>
                </a:lnTo>
                <a:lnTo>
                  <a:pt x="0" y="139331"/>
                </a:lnTo>
                <a:lnTo>
                  <a:pt x="29280" y="128225"/>
                </a:lnTo>
                <a:lnTo>
                  <a:pt x="29280" y="113585"/>
                </a:lnTo>
                <a:cubicBezTo>
                  <a:pt x="29280" y="36347"/>
                  <a:pt x="79763" y="0"/>
                  <a:pt x="15094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4" name="TextBox 63"/>
          <p:cNvSpPr txBox="1">
            <a:spLocks/>
          </p:cNvSpPr>
          <p:nvPr/>
        </p:nvSpPr>
        <p:spPr>
          <a:xfrm>
            <a:off x="10828278" y="644150"/>
            <a:ext cx="167232" cy="16742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5" name="TextBox 64"/>
          <p:cNvSpPr txBox="1">
            <a:spLocks/>
          </p:cNvSpPr>
          <p:nvPr/>
        </p:nvSpPr>
        <p:spPr>
          <a:xfrm>
            <a:off x="11252333" y="691818"/>
            <a:ext cx="113038" cy="119752"/>
          </a:xfrm>
          <a:custGeom>
            <a:avLst/>
            <a:gdLst/>
            <a:ahLst/>
            <a:cxnLst/>
            <a:rect l="l" t="t" r="r" b="b"/>
            <a:pathLst>
              <a:path w="245345" h="259984">
                <a:moveTo>
                  <a:pt x="144885" y="0"/>
                </a:moveTo>
                <a:cubicBezTo>
                  <a:pt x="199406" y="0"/>
                  <a:pt x="240297" y="23726"/>
                  <a:pt x="240297" y="65122"/>
                </a:cubicBezTo>
                <a:cubicBezTo>
                  <a:pt x="240297" y="95411"/>
                  <a:pt x="217075" y="111061"/>
                  <a:pt x="192843" y="111061"/>
                </a:cubicBezTo>
                <a:cubicBezTo>
                  <a:pt x="166087" y="111061"/>
                  <a:pt x="150438" y="96421"/>
                  <a:pt x="148923" y="81781"/>
                </a:cubicBezTo>
                <a:cubicBezTo>
                  <a:pt x="151952" y="82791"/>
                  <a:pt x="155486" y="83296"/>
                  <a:pt x="158010" y="83296"/>
                </a:cubicBezTo>
                <a:cubicBezTo>
                  <a:pt x="176689" y="83296"/>
                  <a:pt x="184261" y="67646"/>
                  <a:pt x="184261" y="48463"/>
                </a:cubicBezTo>
                <a:cubicBezTo>
                  <a:pt x="184261" y="24231"/>
                  <a:pt x="171136" y="8582"/>
                  <a:pt x="145894" y="8582"/>
                </a:cubicBezTo>
                <a:cubicBezTo>
                  <a:pt x="110557" y="8582"/>
                  <a:pt x="93897" y="54016"/>
                  <a:pt x="93897" y="112575"/>
                </a:cubicBezTo>
                <a:cubicBezTo>
                  <a:pt x="93897" y="181737"/>
                  <a:pt x="124692" y="218589"/>
                  <a:pt x="171640" y="218589"/>
                </a:cubicBezTo>
                <a:cubicBezTo>
                  <a:pt x="200415" y="218589"/>
                  <a:pt x="226666" y="204958"/>
                  <a:pt x="242316" y="173659"/>
                </a:cubicBezTo>
                <a:lnTo>
                  <a:pt x="245345" y="175174"/>
                </a:lnTo>
                <a:cubicBezTo>
                  <a:pt x="231210" y="229190"/>
                  <a:pt x="185775" y="259984"/>
                  <a:pt x="129740" y="259984"/>
                </a:cubicBezTo>
                <a:cubicBezTo>
                  <a:pt x="60074" y="259984"/>
                  <a:pt x="0" y="213036"/>
                  <a:pt x="0" y="134788"/>
                </a:cubicBezTo>
                <a:cubicBezTo>
                  <a:pt x="0" y="49977"/>
                  <a:pt x="63608" y="0"/>
                  <a:pt x="144885"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6" name="TextBox 65"/>
          <p:cNvSpPr txBox="1">
            <a:spLocks/>
          </p:cNvSpPr>
          <p:nvPr/>
        </p:nvSpPr>
        <p:spPr>
          <a:xfrm>
            <a:off x="11375209" y="691818"/>
            <a:ext cx="116062" cy="119752"/>
          </a:xfrm>
          <a:custGeom>
            <a:avLst/>
            <a:gdLst/>
            <a:ahLst/>
            <a:cxnLst/>
            <a:rect l="l" t="t" r="r" b="b"/>
            <a:pathLst>
              <a:path w="251908" h="259984">
                <a:moveTo>
                  <a:pt x="132264" y="0"/>
                </a:moveTo>
                <a:cubicBezTo>
                  <a:pt x="213541" y="0"/>
                  <a:pt x="251908" y="51996"/>
                  <a:pt x="251908" y="118633"/>
                </a:cubicBezTo>
                <a:lnTo>
                  <a:pt x="91373" y="118633"/>
                </a:lnTo>
                <a:cubicBezTo>
                  <a:pt x="91373" y="181232"/>
                  <a:pt x="124187" y="218589"/>
                  <a:pt x="172650" y="218589"/>
                </a:cubicBezTo>
                <a:cubicBezTo>
                  <a:pt x="203444" y="218589"/>
                  <a:pt x="230200" y="204958"/>
                  <a:pt x="245850" y="173659"/>
                </a:cubicBezTo>
                <a:lnTo>
                  <a:pt x="249383" y="175174"/>
                </a:lnTo>
                <a:cubicBezTo>
                  <a:pt x="234744" y="229190"/>
                  <a:pt x="189309" y="259984"/>
                  <a:pt x="131759" y="259984"/>
                </a:cubicBezTo>
                <a:cubicBezTo>
                  <a:pt x="59569" y="259984"/>
                  <a:pt x="0" y="212531"/>
                  <a:pt x="0" y="130244"/>
                </a:cubicBezTo>
                <a:cubicBezTo>
                  <a:pt x="0" y="50987"/>
                  <a:pt x="60074" y="0"/>
                  <a:pt x="132264" y="0"/>
                </a:cubicBezTo>
                <a:close/>
                <a:moveTo>
                  <a:pt x="132264" y="8582"/>
                </a:moveTo>
                <a:cubicBezTo>
                  <a:pt x="106013" y="8582"/>
                  <a:pt x="92888" y="48463"/>
                  <a:pt x="91878" y="108032"/>
                </a:cubicBezTo>
                <a:lnTo>
                  <a:pt x="165078" y="108032"/>
                </a:lnTo>
                <a:cubicBezTo>
                  <a:pt x="165078" y="51492"/>
                  <a:pt x="161039" y="8582"/>
                  <a:pt x="132264" y="8582"/>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7" name="TextBox 66"/>
          <p:cNvSpPr txBox="1">
            <a:spLocks/>
          </p:cNvSpPr>
          <p:nvPr/>
        </p:nvSpPr>
        <p:spPr>
          <a:xfrm>
            <a:off x="11176798" y="694143"/>
            <a:ext cx="64892" cy="115102"/>
          </a:xfrm>
          <a:custGeom>
            <a:avLst/>
            <a:gdLst/>
            <a:ahLst/>
            <a:cxnLst/>
            <a:rect l="l" t="t" r="r" b="b"/>
            <a:pathLst>
              <a:path w="140846" h="249888">
                <a:moveTo>
                  <a:pt x="0" y="0"/>
                </a:moveTo>
                <a:lnTo>
                  <a:pt x="117119" y="0"/>
                </a:lnTo>
                <a:lnTo>
                  <a:pt x="117119" y="194862"/>
                </a:lnTo>
                <a:cubicBezTo>
                  <a:pt x="117119" y="228181"/>
                  <a:pt x="118633" y="234743"/>
                  <a:pt x="140846" y="248878"/>
                </a:cubicBezTo>
                <a:lnTo>
                  <a:pt x="140846" y="249888"/>
                </a:lnTo>
                <a:lnTo>
                  <a:pt x="3029" y="249888"/>
                </a:lnTo>
                <a:lnTo>
                  <a:pt x="3029" y="248878"/>
                </a:lnTo>
                <a:cubicBezTo>
                  <a:pt x="25241" y="234743"/>
                  <a:pt x="26755" y="228181"/>
                  <a:pt x="26755" y="194862"/>
                </a:cubicBezTo>
                <a:lnTo>
                  <a:pt x="26755" y="56035"/>
                </a:lnTo>
                <a:cubicBezTo>
                  <a:pt x="26755" y="21707"/>
                  <a:pt x="23726" y="14640"/>
                  <a:pt x="0" y="1009"/>
                </a:cubicBez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8" name="TextBox 67"/>
          <p:cNvSpPr txBox="1">
            <a:spLocks/>
          </p:cNvSpPr>
          <p:nvPr/>
        </p:nvSpPr>
        <p:spPr>
          <a:xfrm>
            <a:off x="11298619" y="842827"/>
            <a:ext cx="149090" cy="167421"/>
          </a:xfrm>
          <a:custGeom>
            <a:avLst/>
            <a:gdLst/>
            <a:ahLst/>
            <a:cxnLst/>
            <a:rect l="l" t="t" r="r" b="b"/>
            <a:pathLst>
              <a:path w="323593" h="363474">
                <a:moveTo>
                  <a:pt x="190319" y="0"/>
                </a:moveTo>
                <a:cubicBezTo>
                  <a:pt x="236258" y="0"/>
                  <a:pt x="260994" y="15145"/>
                  <a:pt x="277653" y="15145"/>
                </a:cubicBezTo>
                <a:cubicBezTo>
                  <a:pt x="291284" y="15145"/>
                  <a:pt x="299866" y="9087"/>
                  <a:pt x="310467" y="0"/>
                </a:cubicBezTo>
                <a:lnTo>
                  <a:pt x="314001" y="120149"/>
                </a:lnTo>
                <a:lnTo>
                  <a:pt x="312991" y="120149"/>
                </a:lnTo>
                <a:cubicBezTo>
                  <a:pt x="287750" y="56541"/>
                  <a:pt x="250393" y="11107"/>
                  <a:pt x="199910" y="11107"/>
                </a:cubicBezTo>
                <a:cubicBezTo>
                  <a:pt x="137312" y="11107"/>
                  <a:pt x="101974" y="80268"/>
                  <a:pt x="101974" y="164573"/>
                </a:cubicBezTo>
                <a:cubicBezTo>
                  <a:pt x="101974" y="260490"/>
                  <a:pt x="155486" y="315011"/>
                  <a:pt x="221113" y="315011"/>
                </a:cubicBezTo>
                <a:cubicBezTo>
                  <a:pt x="263014" y="315011"/>
                  <a:pt x="297846" y="300371"/>
                  <a:pt x="320564" y="252918"/>
                </a:cubicBezTo>
                <a:lnTo>
                  <a:pt x="323593" y="253927"/>
                </a:lnTo>
                <a:cubicBezTo>
                  <a:pt x="306428" y="321574"/>
                  <a:pt x="252412" y="363474"/>
                  <a:pt x="173660" y="363474"/>
                </a:cubicBezTo>
                <a:cubicBezTo>
                  <a:pt x="74209" y="363474"/>
                  <a:pt x="0" y="293304"/>
                  <a:pt x="0" y="186786"/>
                </a:cubicBezTo>
                <a:cubicBezTo>
                  <a:pt x="0" y="76229"/>
                  <a:pt x="85820" y="0"/>
                  <a:pt x="190319"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9" name="TextBox 68"/>
          <p:cNvSpPr txBox="1">
            <a:spLocks/>
          </p:cNvSpPr>
          <p:nvPr/>
        </p:nvSpPr>
        <p:spPr>
          <a:xfrm>
            <a:off x="11640919" y="842827"/>
            <a:ext cx="167232" cy="16742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0" name="TextBox 69"/>
          <p:cNvSpPr txBox="1">
            <a:spLocks/>
          </p:cNvSpPr>
          <p:nvPr/>
        </p:nvSpPr>
        <p:spPr>
          <a:xfrm>
            <a:off x="11457735" y="843060"/>
            <a:ext cx="172117" cy="164863"/>
          </a:xfrm>
          <a:custGeom>
            <a:avLst/>
            <a:gdLst/>
            <a:ahLst/>
            <a:cxnLst/>
            <a:rect l="l" t="t" r="r" b="b"/>
            <a:pathLst>
              <a:path w="373571" h="357921">
                <a:moveTo>
                  <a:pt x="17164" y="0"/>
                </a:moveTo>
                <a:cubicBezTo>
                  <a:pt x="24232" y="3534"/>
                  <a:pt x="35338" y="4544"/>
                  <a:pt x="52502" y="4544"/>
                </a:cubicBezTo>
                <a:lnTo>
                  <a:pt x="321069" y="4544"/>
                </a:lnTo>
                <a:cubicBezTo>
                  <a:pt x="338233" y="4544"/>
                  <a:pt x="349339" y="3534"/>
                  <a:pt x="356407" y="0"/>
                </a:cubicBezTo>
                <a:lnTo>
                  <a:pt x="373571" y="119644"/>
                </a:lnTo>
                <a:lnTo>
                  <a:pt x="372561" y="119644"/>
                </a:lnTo>
                <a:cubicBezTo>
                  <a:pt x="329651" y="50988"/>
                  <a:pt x="309963" y="17669"/>
                  <a:pt x="255946" y="17669"/>
                </a:cubicBezTo>
                <a:lnTo>
                  <a:pt x="234239" y="17669"/>
                </a:lnTo>
                <a:lnTo>
                  <a:pt x="234239" y="297847"/>
                </a:lnTo>
                <a:cubicBezTo>
                  <a:pt x="234239" y="331165"/>
                  <a:pt x="240802" y="342272"/>
                  <a:pt x="263014" y="356912"/>
                </a:cubicBezTo>
                <a:lnTo>
                  <a:pt x="263014" y="357921"/>
                </a:lnTo>
                <a:lnTo>
                  <a:pt x="110557" y="357921"/>
                </a:lnTo>
                <a:lnTo>
                  <a:pt x="110557" y="356912"/>
                </a:lnTo>
                <a:cubicBezTo>
                  <a:pt x="133274" y="342272"/>
                  <a:pt x="139332" y="331165"/>
                  <a:pt x="139332" y="297847"/>
                </a:cubicBezTo>
                <a:lnTo>
                  <a:pt x="139332" y="17669"/>
                </a:lnTo>
                <a:lnTo>
                  <a:pt x="117624" y="17669"/>
                </a:lnTo>
                <a:cubicBezTo>
                  <a:pt x="63608" y="17669"/>
                  <a:pt x="43920" y="50988"/>
                  <a:pt x="1010" y="119644"/>
                </a:cubicBezTo>
                <a:lnTo>
                  <a:pt x="0" y="119644"/>
                </a:lnTo>
                <a:lnTo>
                  <a:pt x="17164"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grpSp>
        <p:nvGrpSpPr>
          <p:cNvPr id="2" name="Group 1"/>
          <p:cNvGrpSpPr/>
          <p:nvPr/>
        </p:nvGrpSpPr>
        <p:grpSpPr>
          <a:xfrm>
            <a:off x="11001879" y="849615"/>
            <a:ext cx="276881" cy="61257"/>
            <a:chOff x="10999013" y="849614"/>
            <a:chExt cx="276809" cy="61257"/>
          </a:xfrm>
          <a:solidFill>
            <a:schemeClr val="accent3"/>
          </a:solidFill>
        </p:grpSpPr>
        <p:sp>
          <p:nvSpPr>
            <p:cNvPr id="71" name="TextBox 70"/>
            <p:cNvSpPr txBox="1">
              <a:spLocks/>
            </p:cNvSpPr>
            <p:nvPr/>
          </p:nvSpPr>
          <p:spPr>
            <a:xfrm>
              <a:off x="10999013" y="849614"/>
              <a:ext cx="60220" cy="61257"/>
            </a:xfrm>
            <a:custGeom>
              <a:avLst/>
              <a:gdLst/>
              <a:ahLst/>
              <a:cxnLst/>
              <a:rect l="l" t="t" r="r" b="b"/>
              <a:pathLst>
                <a:path w="130738" h="132991">
                  <a:moveTo>
                    <a:pt x="65709" y="0"/>
                  </a:moveTo>
                  <a:cubicBezTo>
                    <a:pt x="86122" y="0"/>
                    <a:pt x="102063" y="5891"/>
                    <a:pt x="113533" y="17673"/>
                  </a:cubicBezTo>
                  <a:cubicBezTo>
                    <a:pt x="125003" y="29455"/>
                    <a:pt x="130738" y="45715"/>
                    <a:pt x="130738" y="66451"/>
                  </a:cubicBezTo>
                  <a:cubicBezTo>
                    <a:pt x="130738" y="87129"/>
                    <a:pt x="124987" y="103389"/>
                    <a:pt x="113485" y="115230"/>
                  </a:cubicBezTo>
                  <a:cubicBezTo>
                    <a:pt x="101982" y="127071"/>
                    <a:pt x="85992" y="132991"/>
                    <a:pt x="65515" y="132991"/>
                  </a:cubicBezTo>
                  <a:cubicBezTo>
                    <a:pt x="44584" y="132991"/>
                    <a:pt x="28432" y="127174"/>
                    <a:pt x="17059" y="115539"/>
                  </a:cubicBezTo>
                  <a:cubicBezTo>
                    <a:pt x="5686" y="103904"/>
                    <a:pt x="0" y="87483"/>
                    <a:pt x="0" y="66275"/>
                  </a:cubicBezTo>
                  <a:cubicBezTo>
                    <a:pt x="0" y="45243"/>
                    <a:pt x="5702" y="28940"/>
                    <a:pt x="17107" y="17364"/>
                  </a:cubicBezTo>
                  <a:cubicBezTo>
                    <a:pt x="28513" y="5788"/>
                    <a:pt x="44713" y="0"/>
                    <a:pt x="65709" y="0"/>
                  </a:cubicBezTo>
                  <a:close/>
                  <a:moveTo>
                    <a:pt x="65709" y="13431"/>
                  </a:moveTo>
                  <a:cubicBezTo>
                    <a:pt x="49962" y="13431"/>
                    <a:pt x="37990" y="17953"/>
                    <a:pt x="29793" y="26996"/>
                  </a:cubicBezTo>
                  <a:cubicBezTo>
                    <a:pt x="21595" y="36038"/>
                    <a:pt x="17496" y="49190"/>
                    <a:pt x="17496" y="66451"/>
                  </a:cubicBezTo>
                  <a:cubicBezTo>
                    <a:pt x="17496" y="83948"/>
                    <a:pt x="21595" y="97218"/>
                    <a:pt x="29793" y="106261"/>
                  </a:cubicBezTo>
                  <a:cubicBezTo>
                    <a:pt x="37990" y="115303"/>
                    <a:pt x="49897" y="119825"/>
                    <a:pt x="65515" y="119825"/>
                  </a:cubicBezTo>
                  <a:cubicBezTo>
                    <a:pt x="81262" y="119825"/>
                    <a:pt x="93153" y="115318"/>
                    <a:pt x="101188" y="106305"/>
                  </a:cubicBezTo>
                  <a:cubicBezTo>
                    <a:pt x="109224" y="97291"/>
                    <a:pt x="113242" y="84007"/>
                    <a:pt x="113242" y="66451"/>
                  </a:cubicBezTo>
                  <a:cubicBezTo>
                    <a:pt x="113242" y="49073"/>
                    <a:pt x="109240" y="35891"/>
                    <a:pt x="101237" y="26907"/>
                  </a:cubicBezTo>
                  <a:cubicBezTo>
                    <a:pt x="93234" y="17923"/>
                    <a:pt x="81391" y="13431"/>
                    <a:pt x="65709" y="13431"/>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2" name="TextBox 71"/>
            <p:cNvSpPr txBox="1">
              <a:spLocks/>
            </p:cNvSpPr>
            <p:nvPr/>
          </p:nvSpPr>
          <p:spPr>
            <a:xfrm>
              <a:off x="11068225" y="850549"/>
              <a:ext cx="36490" cy="59507"/>
            </a:xfrm>
            <a:custGeom>
              <a:avLst/>
              <a:gdLst/>
              <a:ahLst/>
              <a:cxnLst/>
              <a:rect l="l" t="t" r="r" b="b"/>
              <a:pathLst>
                <a:path w="79221" h="129192">
                  <a:moveTo>
                    <a:pt x="0" y="0"/>
                  </a:moveTo>
                  <a:lnTo>
                    <a:pt x="79221" y="0"/>
                  </a:lnTo>
                  <a:lnTo>
                    <a:pt x="79221" y="13343"/>
                  </a:lnTo>
                  <a:lnTo>
                    <a:pt x="16525" y="13343"/>
                  </a:lnTo>
                  <a:lnTo>
                    <a:pt x="16525" y="60620"/>
                  </a:lnTo>
                  <a:lnTo>
                    <a:pt x="75430" y="60620"/>
                  </a:lnTo>
                  <a:lnTo>
                    <a:pt x="75430" y="73963"/>
                  </a:lnTo>
                  <a:lnTo>
                    <a:pt x="16525" y="73963"/>
                  </a:lnTo>
                  <a:lnTo>
                    <a:pt x="16525"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3" name="TextBox 72"/>
            <p:cNvSpPr txBox="1">
              <a:spLocks/>
            </p:cNvSpPr>
            <p:nvPr/>
          </p:nvSpPr>
          <p:spPr>
            <a:xfrm>
              <a:off x="11121455" y="850549"/>
              <a:ext cx="49071" cy="59507"/>
            </a:xfrm>
            <a:custGeom>
              <a:avLst/>
              <a:gdLst/>
              <a:ahLst/>
              <a:cxnLst/>
              <a:rect l="l" t="t" r="r" b="b"/>
              <a:pathLst>
                <a:path w="106535" h="129192">
                  <a:moveTo>
                    <a:pt x="0" y="0"/>
                  </a:moveTo>
                  <a:lnTo>
                    <a:pt x="106535" y="0"/>
                  </a:lnTo>
                  <a:lnTo>
                    <a:pt x="106535" y="13343"/>
                  </a:lnTo>
                  <a:lnTo>
                    <a:pt x="61530" y="13343"/>
                  </a:lnTo>
                  <a:lnTo>
                    <a:pt x="61530" y="129192"/>
                  </a:lnTo>
                  <a:lnTo>
                    <a:pt x="45005" y="129192"/>
                  </a:lnTo>
                  <a:lnTo>
                    <a:pt x="45005" y="13343"/>
                  </a:lnTo>
                  <a:lnTo>
                    <a:pt x="0" y="13343"/>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4" name="TextBox 73"/>
            <p:cNvSpPr txBox="1">
              <a:spLocks/>
            </p:cNvSpPr>
            <p:nvPr/>
          </p:nvSpPr>
          <p:spPr>
            <a:xfrm>
              <a:off x="11177909" y="850549"/>
              <a:ext cx="49698" cy="59507"/>
            </a:xfrm>
            <a:custGeom>
              <a:avLst/>
              <a:gdLst/>
              <a:ahLst/>
              <a:cxnLst/>
              <a:rect l="l" t="t" r="r" b="b"/>
              <a:pathLst>
                <a:path w="107896" h="129192">
                  <a:moveTo>
                    <a:pt x="0" y="0"/>
                  </a:moveTo>
                  <a:lnTo>
                    <a:pt x="16525" y="0"/>
                  </a:lnTo>
                  <a:lnTo>
                    <a:pt x="16525" y="54964"/>
                  </a:lnTo>
                  <a:lnTo>
                    <a:pt x="91371" y="54964"/>
                  </a:lnTo>
                  <a:lnTo>
                    <a:pt x="91371" y="0"/>
                  </a:lnTo>
                  <a:lnTo>
                    <a:pt x="107896" y="0"/>
                  </a:lnTo>
                  <a:lnTo>
                    <a:pt x="107896" y="129192"/>
                  </a:lnTo>
                  <a:lnTo>
                    <a:pt x="91371" y="129192"/>
                  </a:lnTo>
                  <a:lnTo>
                    <a:pt x="91371" y="68396"/>
                  </a:lnTo>
                  <a:lnTo>
                    <a:pt x="16525" y="68396"/>
                  </a:lnTo>
                  <a:lnTo>
                    <a:pt x="16525"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5" name="TextBox 74"/>
            <p:cNvSpPr txBox="1">
              <a:spLocks/>
            </p:cNvSpPr>
            <p:nvPr/>
          </p:nvSpPr>
          <p:spPr>
            <a:xfrm>
              <a:off x="11239332" y="850549"/>
              <a:ext cx="36490" cy="59507"/>
            </a:xfrm>
            <a:custGeom>
              <a:avLst/>
              <a:gdLst/>
              <a:ahLst/>
              <a:cxnLst/>
              <a:rect l="l" t="t" r="r" b="b"/>
              <a:pathLst>
                <a:path w="79221" h="129192">
                  <a:moveTo>
                    <a:pt x="0" y="0"/>
                  </a:moveTo>
                  <a:lnTo>
                    <a:pt x="79221" y="0"/>
                  </a:lnTo>
                  <a:lnTo>
                    <a:pt x="79221" y="13343"/>
                  </a:lnTo>
                  <a:lnTo>
                    <a:pt x="16525" y="13343"/>
                  </a:lnTo>
                  <a:lnTo>
                    <a:pt x="16525" y="54964"/>
                  </a:lnTo>
                  <a:lnTo>
                    <a:pt x="75430" y="54964"/>
                  </a:lnTo>
                  <a:lnTo>
                    <a:pt x="75430" y="68219"/>
                  </a:lnTo>
                  <a:lnTo>
                    <a:pt x="16525" y="68219"/>
                  </a:lnTo>
                  <a:lnTo>
                    <a:pt x="16525" y="115760"/>
                  </a:lnTo>
                  <a:lnTo>
                    <a:pt x="79221" y="115760"/>
                  </a:lnTo>
                  <a:lnTo>
                    <a:pt x="79221"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grpSp>
      <p:sp>
        <p:nvSpPr>
          <p:cNvPr id="62" name="Freeform 9"/>
          <p:cNvSpPr>
            <a:spLocks noEditPoints="1"/>
          </p:cNvSpPr>
          <p:nvPr/>
        </p:nvSpPr>
        <p:spPr bwMode="auto">
          <a:xfrm>
            <a:off x="10579888" y="371026"/>
            <a:ext cx="1417689" cy="783522"/>
          </a:xfrm>
          <a:custGeom>
            <a:avLst/>
            <a:gdLst>
              <a:gd name="T0" fmla="*/ 279 w 326"/>
              <a:gd name="T1" fmla="*/ 180 h 180"/>
              <a:gd name="T2" fmla="*/ 271 w 326"/>
              <a:gd name="T3" fmla="*/ 179 h 180"/>
              <a:gd name="T4" fmla="*/ 45 w 326"/>
              <a:gd name="T5" fmla="*/ 179 h 180"/>
              <a:gd name="T6" fmla="*/ 6 w 326"/>
              <a:gd name="T7" fmla="*/ 153 h 180"/>
              <a:gd name="T8" fmla="*/ 0 w 326"/>
              <a:gd name="T9" fmla="*/ 129 h 180"/>
              <a:gd name="T10" fmla="*/ 32 w 326"/>
              <a:gd name="T11" fmla="*/ 82 h 180"/>
              <a:gd name="T12" fmla="*/ 30 w 326"/>
              <a:gd name="T13" fmla="*/ 70 h 180"/>
              <a:gd name="T14" fmla="*/ 100 w 326"/>
              <a:gd name="T15" fmla="*/ 0 h 180"/>
              <a:gd name="T16" fmla="*/ 154 w 326"/>
              <a:gd name="T17" fmla="*/ 26 h 180"/>
              <a:gd name="T18" fmla="*/ 187 w 326"/>
              <a:gd name="T19" fmla="*/ 16 h 180"/>
              <a:gd name="T20" fmla="*/ 242 w 326"/>
              <a:gd name="T21" fmla="*/ 55 h 180"/>
              <a:gd name="T22" fmla="*/ 245 w 326"/>
              <a:gd name="T23" fmla="*/ 54 h 180"/>
              <a:gd name="T24" fmla="*/ 280 w 326"/>
              <a:gd name="T25" fmla="*/ 85 h 180"/>
              <a:gd name="T26" fmla="*/ 326 w 326"/>
              <a:gd name="T27" fmla="*/ 132 h 180"/>
              <a:gd name="T28" fmla="*/ 279 w 326"/>
              <a:gd name="T29" fmla="*/ 180 h 180"/>
              <a:gd name="T30" fmla="*/ 100 w 326"/>
              <a:gd name="T31" fmla="*/ 4 h 180"/>
              <a:gd name="T32" fmla="*/ 34 w 326"/>
              <a:gd name="T33" fmla="*/ 70 h 180"/>
              <a:gd name="T34" fmla="*/ 36 w 326"/>
              <a:gd name="T35" fmla="*/ 83 h 180"/>
              <a:gd name="T36" fmla="*/ 36 w 326"/>
              <a:gd name="T37" fmla="*/ 85 h 180"/>
              <a:gd name="T38" fmla="*/ 35 w 326"/>
              <a:gd name="T39" fmla="*/ 86 h 180"/>
              <a:gd name="T40" fmla="*/ 4 w 326"/>
              <a:gd name="T41" fmla="*/ 129 h 180"/>
              <a:gd name="T42" fmla="*/ 10 w 326"/>
              <a:gd name="T43" fmla="*/ 151 h 180"/>
              <a:gd name="T44" fmla="*/ 10 w 326"/>
              <a:gd name="T45" fmla="*/ 151 h 180"/>
              <a:gd name="T46" fmla="*/ 45 w 326"/>
              <a:gd name="T47" fmla="*/ 175 h 180"/>
              <a:gd name="T48" fmla="*/ 271 w 326"/>
              <a:gd name="T49" fmla="*/ 175 h 180"/>
              <a:gd name="T50" fmla="*/ 272 w 326"/>
              <a:gd name="T51" fmla="*/ 175 h 180"/>
              <a:gd name="T52" fmla="*/ 279 w 326"/>
              <a:gd name="T53" fmla="*/ 176 h 180"/>
              <a:gd name="T54" fmla="*/ 322 w 326"/>
              <a:gd name="T55" fmla="*/ 132 h 180"/>
              <a:gd name="T56" fmla="*/ 279 w 326"/>
              <a:gd name="T57" fmla="*/ 89 h 180"/>
              <a:gd name="T58" fmla="*/ 278 w 326"/>
              <a:gd name="T59" fmla="*/ 89 h 180"/>
              <a:gd name="T60" fmla="*/ 276 w 326"/>
              <a:gd name="T61" fmla="*/ 89 h 180"/>
              <a:gd name="T62" fmla="*/ 276 w 326"/>
              <a:gd name="T63" fmla="*/ 87 h 180"/>
              <a:gd name="T64" fmla="*/ 245 w 326"/>
              <a:gd name="T65" fmla="*/ 58 h 180"/>
              <a:gd name="T66" fmla="*/ 240 w 326"/>
              <a:gd name="T67" fmla="*/ 59 h 180"/>
              <a:gd name="T68" fmla="*/ 239 w 326"/>
              <a:gd name="T69" fmla="*/ 59 h 180"/>
              <a:gd name="T70" fmla="*/ 238 w 326"/>
              <a:gd name="T71" fmla="*/ 57 h 180"/>
              <a:gd name="T72" fmla="*/ 187 w 326"/>
              <a:gd name="T73" fmla="*/ 20 h 180"/>
              <a:gd name="T74" fmla="*/ 155 w 326"/>
              <a:gd name="T75" fmla="*/ 30 h 180"/>
              <a:gd name="T76" fmla="*/ 153 w 326"/>
              <a:gd name="T77" fmla="*/ 31 h 180"/>
              <a:gd name="T78" fmla="*/ 152 w 326"/>
              <a:gd name="T79" fmla="*/ 30 h 180"/>
              <a:gd name="T80" fmla="*/ 100 w 326"/>
              <a:gd name="T8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6" h="180">
                <a:moveTo>
                  <a:pt x="279" y="180"/>
                </a:moveTo>
                <a:cubicBezTo>
                  <a:pt x="276" y="180"/>
                  <a:pt x="274" y="179"/>
                  <a:pt x="271" y="179"/>
                </a:cubicBezTo>
                <a:cubicBezTo>
                  <a:pt x="45" y="179"/>
                  <a:pt x="45" y="179"/>
                  <a:pt x="45" y="179"/>
                </a:cubicBezTo>
                <a:cubicBezTo>
                  <a:pt x="28" y="179"/>
                  <a:pt x="13" y="169"/>
                  <a:pt x="6" y="153"/>
                </a:cubicBezTo>
                <a:cubicBezTo>
                  <a:pt x="2" y="146"/>
                  <a:pt x="0" y="137"/>
                  <a:pt x="0" y="129"/>
                </a:cubicBezTo>
                <a:cubicBezTo>
                  <a:pt x="0" y="109"/>
                  <a:pt x="13" y="90"/>
                  <a:pt x="32" y="82"/>
                </a:cubicBezTo>
                <a:cubicBezTo>
                  <a:pt x="31" y="78"/>
                  <a:pt x="30" y="74"/>
                  <a:pt x="30" y="70"/>
                </a:cubicBezTo>
                <a:cubicBezTo>
                  <a:pt x="30" y="32"/>
                  <a:pt x="62" y="0"/>
                  <a:pt x="100" y="0"/>
                </a:cubicBezTo>
                <a:cubicBezTo>
                  <a:pt x="121" y="0"/>
                  <a:pt x="141" y="10"/>
                  <a:pt x="154" y="26"/>
                </a:cubicBezTo>
                <a:cubicBezTo>
                  <a:pt x="164" y="19"/>
                  <a:pt x="175" y="16"/>
                  <a:pt x="187" y="16"/>
                </a:cubicBezTo>
                <a:cubicBezTo>
                  <a:pt x="212" y="16"/>
                  <a:pt x="233" y="31"/>
                  <a:pt x="242" y="55"/>
                </a:cubicBezTo>
                <a:cubicBezTo>
                  <a:pt x="243" y="54"/>
                  <a:pt x="244" y="54"/>
                  <a:pt x="245" y="54"/>
                </a:cubicBezTo>
                <a:cubicBezTo>
                  <a:pt x="263" y="54"/>
                  <a:pt x="278" y="68"/>
                  <a:pt x="280" y="85"/>
                </a:cubicBezTo>
                <a:cubicBezTo>
                  <a:pt x="305" y="86"/>
                  <a:pt x="326" y="107"/>
                  <a:pt x="326" y="132"/>
                </a:cubicBezTo>
                <a:cubicBezTo>
                  <a:pt x="326" y="158"/>
                  <a:pt x="305" y="180"/>
                  <a:pt x="279" y="180"/>
                </a:cubicBezTo>
                <a:close/>
                <a:moveTo>
                  <a:pt x="100" y="4"/>
                </a:moveTo>
                <a:cubicBezTo>
                  <a:pt x="64" y="4"/>
                  <a:pt x="34" y="34"/>
                  <a:pt x="34" y="70"/>
                </a:cubicBezTo>
                <a:cubicBezTo>
                  <a:pt x="34" y="75"/>
                  <a:pt x="35" y="79"/>
                  <a:pt x="36" y="83"/>
                </a:cubicBezTo>
                <a:cubicBezTo>
                  <a:pt x="36" y="85"/>
                  <a:pt x="36" y="85"/>
                  <a:pt x="36" y="85"/>
                </a:cubicBezTo>
                <a:cubicBezTo>
                  <a:pt x="35" y="86"/>
                  <a:pt x="35" y="86"/>
                  <a:pt x="35" y="86"/>
                </a:cubicBezTo>
                <a:cubicBezTo>
                  <a:pt x="16" y="92"/>
                  <a:pt x="4" y="110"/>
                  <a:pt x="4" y="129"/>
                </a:cubicBezTo>
                <a:cubicBezTo>
                  <a:pt x="4" y="137"/>
                  <a:pt x="6" y="144"/>
                  <a:pt x="10" y="151"/>
                </a:cubicBezTo>
                <a:cubicBezTo>
                  <a:pt x="10" y="151"/>
                  <a:pt x="10" y="151"/>
                  <a:pt x="10" y="151"/>
                </a:cubicBezTo>
                <a:cubicBezTo>
                  <a:pt x="16" y="166"/>
                  <a:pt x="30" y="175"/>
                  <a:pt x="45" y="175"/>
                </a:cubicBezTo>
                <a:cubicBezTo>
                  <a:pt x="271" y="175"/>
                  <a:pt x="271" y="175"/>
                  <a:pt x="271" y="175"/>
                </a:cubicBezTo>
                <a:cubicBezTo>
                  <a:pt x="272" y="175"/>
                  <a:pt x="272" y="175"/>
                  <a:pt x="272" y="175"/>
                </a:cubicBezTo>
                <a:cubicBezTo>
                  <a:pt x="274" y="175"/>
                  <a:pt x="276" y="176"/>
                  <a:pt x="279" y="176"/>
                </a:cubicBezTo>
                <a:cubicBezTo>
                  <a:pt x="303" y="176"/>
                  <a:pt x="322" y="156"/>
                  <a:pt x="322" y="132"/>
                </a:cubicBezTo>
                <a:cubicBezTo>
                  <a:pt x="322" y="109"/>
                  <a:pt x="303" y="89"/>
                  <a:pt x="279" y="89"/>
                </a:cubicBezTo>
                <a:cubicBezTo>
                  <a:pt x="279" y="89"/>
                  <a:pt x="278" y="89"/>
                  <a:pt x="278" y="89"/>
                </a:cubicBezTo>
                <a:cubicBezTo>
                  <a:pt x="276" y="89"/>
                  <a:pt x="276" y="89"/>
                  <a:pt x="276" y="89"/>
                </a:cubicBezTo>
                <a:cubicBezTo>
                  <a:pt x="276" y="87"/>
                  <a:pt x="276" y="87"/>
                  <a:pt x="276" y="87"/>
                </a:cubicBezTo>
                <a:cubicBezTo>
                  <a:pt x="275" y="71"/>
                  <a:pt x="261" y="58"/>
                  <a:pt x="245" y="58"/>
                </a:cubicBezTo>
                <a:cubicBezTo>
                  <a:pt x="243" y="58"/>
                  <a:pt x="242" y="59"/>
                  <a:pt x="240" y="59"/>
                </a:cubicBezTo>
                <a:cubicBezTo>
                  <a:pt x="239" y="59"/>
                  <a:pt x="239" y="59"/>
                  <a:pt x="239" y="59"/>
                </a:cubicBezTo>
                <a:cubicBezTo>
                  <a:pt x="238" y="57"/>
                  <a:pt x="238" y="57"/>
                  <a:pt x="238" y="57"/>
                </a:cubicBezTo>
                <a:cubicBezTo>
                  <a:pt x="231" y="35"/>
                  <a:pt x="210" y="20"/>
                  <a:pt x="187" y="20"/>
                </a:cubicBezTo>
                <a:cubicBezTo>
                  <a:pt x="175" y="20"/>
                  <a:pt x="164" y="23"/>
                  <a:pt x="155" y="30"/>
                </a:cubicBezTo>
                <a:cubicBezTo>
                  <a:pt x="153" y="31"/>
                  <a:pt x="153" y="31"/>
                  <a:pt x="153" y="31"/>
                </a:cubicBezTo>
                <a:cubicBezTo>
                  <a:pt x="152" y="30"/>
                  <a:pt x="152" y="30"/>
                  <a:pt x="152" y="30"/>
                </a:cubicBezTo>
                <a:cubicBezTo>
                  <a:pt x="139" y="14"/>
                  <a:pt x="121" y="4"/>
                  <a:pt x="100" y="4"/>
                </a:cubicBezTo>
                <a:close/>
              </a:path>
            </a:pathLst>
          </a:custGeom>
          <a:solidFill>
            <a:srgbClr val="34697F"/>
          </a:solidFill>
          <a:ln>
            <a:noFill/>
          </a:ln>
          <a:extLst/>
        </p:spPr>
        <p:txBody>
          <a:bodyPr vert="horz" wrap="square" lIns="91440" tIns="45720" rIns="91440" bIns="45720" numCol="1" anchor="t" anchorCtr="0" compatLnSpc="1">
            <a:prstTxWarp prst="textNoShape">
              <a:avLst/>
            </a:prstTxWarp>
          </a:bodyPr>
          <a:lstStyle/>
          <a:p>
            <a:endParaRPr lang="en-US" sz="1800">
              <a:latin typeface="Arial" panose="020B0604020202020204" pitchFamily="34" charset="0"/>
              <a:cs typeface="Arial" panose="020B0604020202020204" pitchFamily="34" charset="0"/>
              <a:sym typeface="Arial" panose="020B0604020202020204" pitchFamily="34" charset="0"/>
            </a:endParaRPr>
          </a:p>
        </p:txBody>
      </p:sp>
      <p:sp>
        <p:nvSpPr>
          <p:cNvPr id="5" name="Text Placeholder 4"/>
          <p:cNvSpPr>
            <a:spLocks noGrp="1"/>
          </p:cNvSpPr>
          <p:nvPr>
            <p:ph type="body" sz="quarter" idx="12" hasCustomPrompt="1"/>
          </p:nvPr>
        </p:nvSpPr>
        <p:spPr>
          <a:xfrm>
            <a:off x="457200" y="2011681"/>
            <a:ext cx="11272838" cy="4174867"/>
          </a:xfrm>
          <a:prstGeom prst="rect">
            <a:avLst/>
          </a:prstGeo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lvl="0"/>
            <a:r>
              <a:rPr lang="en-US" dirty="0"/>
              <a:t>Body text</a:t>
            </a:r>
          </a:p>
        </p:txBody>
      </p:sp>
    </p:spTree>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lternate Internal Sl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6074438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6" name="think-cell Slide" r:id="rId4" imgW="498" imgH="499" progId="TCLayout.ActiveDocument.1">
                  <p:embed/>
                </p:oleObj>
              </mc:Choice>
              <mc:Fallback>
                <p:oleObj name="think-cell Slide" r:id="rId4" imgW="498" imgH="499"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Rectangle 1"/>
          <p:cNvSpPr/>
          <p:nvPr/>
        </p:nvSpPr>
        <p:spPr>
          <a:xfrm flipH="1">
            <a:off x="-2" y="1549668"/>
            <a:ext cx="4297680" cy="5308333"/>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1" dirty="0">
              <a:solidFill>
                <a:schemeClr val="bg2">
                  <a:lumMod val="20000"/>
                  <a:lumOff val="80000"/>
                </a:schemeClr>
              </a:solidFill>
              <a:latin typeface="Arial" panose="020B0604020202020204" pitchFamily="34" charset="0"/>
              <a:cs typeface="Arial" panose="020B0604020202020204" pitchFamily="34" charset="0"/>
              <a:sym typeface="Arial" panose="020B0604020202020204" pitchFamily="34" charset="0"/>
            </a:endParaRPr>
          </a:p>
        </p:txBody>
      </p:sp>
      <p:sp>
        <p:nvSpPr>
          <p:cNvPr id="3" name="Rectangle 2"/>
          <p:cNvSpPr/>
          <p:nvPr/>
        </p:nvSpPr>
        <p:spPr>
          <a:xfrm>
            <a:off x="0" y="1"/>
            <a:ext cx="12191996" cy="1554480"/>
          </a:xfrm>
          <a:prstGeom prst="rect">
            <a:avLst/>
          </a:prstGeom>
          <a:solidFill>
            <a:srgbClr val="064E69"/>
          </a:solidFill>
        </p:spPr>
        <p:txBody>
          <a:bodyPr wrap="square" lIns="548640" tIns="0" rIns="91440" bIns="0" anchor="ctr">
            <a:noAutofit/>
          </a:bodyPr>
          <a:lstStyle/>
          <a:p>
            <a:endParaRPr lang="en-US" sz="4000" b="1" dirty="0">
              <a:solidFill>
                <a:schemeClr val="bg1"/>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4" name="Rectangle 3"/>
          <p:cNvSpPr/>
          <p:nvPr/>
        </p:nvSpPr>
        <p:spPr>
          <a:xfrm>
            <a:off x="-1" y="1448246"/>
            <a:ext cx="12192127" cy="106731"/>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1" dirty="0">
              <a:latin typeface="Arial" panose="020B0604020202020204" pitchFamily="34" charset="0"/>
              <a:cs typeface="Arial" panose="020B0604020202020204" pitchFamily="34" charset="0"/>
              <a:sym typeface="Arial" panose="020B0604020202020204" pitchFamily="34" charset="0"/>
            </a:endParaRPr>
          </a:p>
        </p:txBody>
      </p:sp>
      <p:cxnSp>
        <p:nvCxnSpPr>
          <p:cNvPr id="7" name="Straight Connector 6"/>
          <p:cNvCxnSpPr/>
          <p:nvPr/>
        </p:nvCxnSpPr>
        <p:spPr>
          <a:xfrm>
            <a:off x="10363874" y="222724"/>
            <a:ext cx="0" cy="1032988"/>
          </a:xfrm>
          <a:prstGeom prst="line">
            <a:avLst/>
          </a:prstGeom>
          <a:ln w="15875" cmpd="sng">
            <a:solidFill>
              <a:schemeClr val="accent2">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24" name="Content Placeholder 8"/>
          <p:cNvSpPr txBox="1">
            <a:spLocks/>
          </p:cNvSpPr>
          <p:nvPr/>
        </p:nvSpPr>
        <p:spPr>
          <a:xfrm>
            <a:off x="547922" y="6418626"/>
            <a:ext cx="2383745"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r>
              <a:rPr lang="en-US" sz="800" dirty="0">
                <a:solidFill>
                  <a:schemeClr val="tx2">
                    <a:lumMod val="40000"/>
                    <a:lumOff val="60000"/>
                  </a:schemeClr>
                </a:solidFill>
                <a:latin typeface="Arial" panose="020B0604020202020204" pitchFamily="34" charset="0"/>
                <a:cs typeface="Arial" panose="020B0604020202020204" pitchFamily="34" charset="0"/>
                <a:sym typeface="Arial" panose="020B0604020202020204" pitchFamily="34" charset="0"/>
              </a:rPr>
              <a:t>©2018</a:t>
            </a:r>
          </a:p>
        </p:txBody>
      </p:sp>
      <p:grpSp>
        <p:nvGrpSpPr>
          <p:cNvPr id="40" name="Group 39"/>
          <p:cNvGrpSpPr/>
          <p:nvPr/>
        </p:nvGrpSpPr>
        <p:grpSpPr>
          <a:xfrm>
            <a:off x="10579888" y="371026"/>
            <a:ext cx="1417689" cy="783522"/>
            <a:chOff x="10577133" y="371026"/>
            <a:chExt cx="1417320" cy="783522"/>
          </a:xfrm>
        </p:grpSpPr>
        <p:sp>
          <p:nvSpPr>
            <p:cNvPr id="25" name="TextBox 24"/>
            <p:cNvSpPr txBox="1">
              <a:spLocks/>
            </p:cNvSpPr>
            <p:nvPr/>
          </p:nvSpPr>
          <p:spPr>
            <a:xfrm>
              <a:off x="11006005" y="633221"/>
              <a:ext cx="224154" cy="176024"/>
            </a:xfrm>
            <a:custGeom>
              <a:avLst/>
              <a:gdLst/>
              <a:ahLst/>
              <a:cxnLst/>
              <a:rect l="l" t="t" r="r" b="b"/>
              <a:pathLst>
                <a:path w="486642" h="382152">
                  <a:moveTo>
                    <a:pt x="150943" y="0"/>
                  </a:moveTo>
                  <a:cubicBezTo>
                    <a:pt x="191582" y="0"/>
                    <a:pt x="224490" y="12368"/>
                    <a:pt x="232082" y="39810"/>
                  </a:cubicBezTo>
                  <a:lnTo>
                    <a:pt x="232262" y="41192"/>
                  </a:lnTo>
                  <a:lnTo>
                    <a:pt x="244394" y="27828"/>
                  </a:lnTo>
                  <a:cubicBezTo>
                    <a:pt x="265912" y="9086"/>
                    <a:pt x="296328" y="0"/>
                    <a:pt x="331918" y="0"/>
                  </a:cubicBezTo>
                  <a:cubicBezTo>
                    <a:pt x="355140" y="0"/>
                    <a:pt x="375838" y="4038"/>
                    <a:pt x="390730" y="12620"/>
                  </a:cubicBezTo>
                  <a:lnTo>
                    <a:pt x="399550" y="19037"/>
                  </a:lnTo>
                  <a:lnTo>
                    <a:pt x="415123" y="9213"/>
                  </a:lnTo>
                  <a:cubicBezTo>
                    <a:pt x="421204" y="6846"/>
                    <a:pt x="427956" y="5553"/>
                    <a:pt x="435150" y="5553"/>
                  </a:cubicBezTo>
                  <a:cubicBezTo>
                    <a:pt x="464430" y="5553"/>
                    <a:pt x="486642" y="26250"/>
                    <a:pt x="486642" y="53511"/>
                  </a:cubicBezTo>
                  <a:cubicBezTo>
                    <a:pt x="486642" y="80772"/>
                    <a:pt x="464430" y="101974"/>
                    <a:pt x="435150" y="101974"/>
                  </a:cubicBezTo>
                  <a:cubicBezTo>
                    <a:pt x="420763" y="101974"/>
                    <a:pt x="408142" y="96674"/>
                    <a:pt x="399118" y="87965"/>
                  </a:cubicBezTo>
                  <a:lnTo>
                    <a:pt x="397141" y="85099"/>
                  </a:lnTo>
                  <a:lnTo>
                    <a:pt x="387023" y="90979"/>
                  </a:lnTo>
                  <a:cubicBezTo>
                    <a:pt x="381675" y="92887"/>
                    <a:pt x="375838" y="93897"/>
                    <a:pt x="369780" y="93897"/>
                  </a:cubicBezTo>
                  <a:cubicBezTo>
                    <a:pt x="355140" y="93897"/>
                    <a:pt x="342015" y="89354"/>
                    <a:pt x="335452" y="81781"/>
                  </a:cubicBezTo>
                  <a:cubicBezTo>
                    <a:pt x="350092" y="78247"/>
                    <a:pt x="359179" y="66132"/>
                    <a:pt x="359179" y="42910"/>
                  </a:cubicBezTo>
                  <a:cubicBezTo>
                    <a:pt x="359179" y="22717"/>
                    <a:pt x="350597" y="8077"/>
                    <a:pt x="331918" y="8077"/>
                  </a:cubicBezTo>
                  <a:cubicBezTo>
                    <a:pt x="308696" y="8077"/>
                    <a:pt x="300619" y="29784"/>
                    <a:pt x="300619" y="58054"/>
                  </a:cubicBezTo>
                  <a:lnTo>
                    <a:pt x="300619" y="132264"/>
                  </a:lnTo>
                  <a:lnTo>
                    <a:pt x="363217" y="132264"/>
                  </a:lnTo>
                  <a:lnTo>
                    <a:pt x="360693" y="144884"/>
                  </a:lnTo>
                  <a:lnTo>
                    <a:pt x="300619" y="144884"/>
                  </a:lnTo>
                  <a:lnTo>
                    <a:pt x="300619" y="327126"/>
                  </a:lnTo>
                  <a:cubicBezTo>
                    <a:pt x="300619" y="360445"/>
                    <a:pt x="312230" y="369027"/>
                    <a:pt x="339490" y="381142"/>
                  </a:cubicBezTo>
                  <a:lnTo>
                    <a:pt x="339490" y="382152"/>
                  </a:lnTo>
                  <a:lnTo>
                    <a:pt x="186529" y="382152"/>
                  </a:lnTo>
                  <a:lnTo>
                    <a:pt x="186529" y="381142"/>
                  </a:lnTo>
                  <a:cubicBezTo>
                    <a:pt x="208741" y="367007"/>
                    <a:pt x="210255" y="360445"/>
                    <a:pt x="210255" y="327126"/>
                  </a:cubicBezTo>
                  <a:lnTo>
                    <a:pt x="210255" y="144884"/>
                  </a:lnTo>
                  <a:lnTo>
                    <a:pt x="180976" y="144884"/>
                  </a:lnTo>
                  <a:lnTo>
                    <a:pt x="180976" y="139331"/>
                  </a:lnTo>
                  <a:lnTo>
                    <a:pt x="210255" y="128225"/>
                  </a:lnTo>
                  <a:lnTo>
                    <a:pt x="210255" y="113585"/>
                  </a:lnTo>
                  <a:lnTo>
                    <a:pt x="212504" y="87227"/>
                  </a:lnTo>
                  <a:lnTo>
                    <a:pt x="206048" y="90979"/>
                  </a:lnTo>
                  <a:cubicBezTo>
                    <a:pt x="200700" y="92887"/>
                    <a:pt x="194863" y="93897"/>
                    <a:pt x="188805" y="93897"/>
                  </a:cubicBezTo>
                  <a:cubicBezTo>
                    <a:pt x="174165" y="93897"/>
                    <a:pt x="161040" y="89354"/>
                    <a:pt x="154477" y="81781"/>
                  </a:cubicBezTo>
                  <a:cubicBezTo>
                    <a:pt x="169117" y="78247"/>
                    <a:pt x="178204" y="66132"/>
                    <a:pt x="178204" y="42910"/>
                  </a:cubicBezTo>
                  <a:cubicBezTo>
                    <a:pt x="178204" y="22717"/>
                    <a:pt x="169622" y="8077"/>
                    <a:pt x="150943" y="8077"/>
                  </a:cubicBezTo>
                  <a:cubicBezTo>
                    <a:pt x="127721" y="8077"/>
                    <a:pt x="119644" y="29784"/>
                    <a:pt x="119644" y="58054"/>
                  </a:cubicBezTo>
                  <a:lnTo>
                    <a:pt x="119644" y="132264"/>
                  </a:lnTo>
                  <a:lnTo>
                    <a:pt x="182242" y="132264"/>
                  </a:lnTo>
                  <a:lnTo>
                    <a:pt x="179718" y="144884"/>
                  </a:lnTo>
                  <a:lnTo>
                    <a:pt x="119644" y="144884"/>
                  </a:lnTo>
                  <a:lnTo>
                    <a:pt x="119644" y="327126"/>
                  </a:lnTo>
                  <a:cubicBezTo>
                    <a:pt x="119644" y="360445"/>
                    <a:pt x="131255" y="369027"/>
                    <a:pt x="158516" y="381142"/>
                  </a:cubicBezTo>
                  <a:lnTo>
                    <a:pt x="158516" y="382152"/>
                  </a:lnTo>
                  <a:lnTo>
                    <a:pt x="5554" y="382152"/>
                  </a:lnTo>
                  <a:lnTo>
                    <a:pt x="5554" y="381142"/>
                  </a:lnTo>
                  <a:cubicBezTo>
                    <a:pt x="27766" y="367007"/>
                    <a:pt x="29280" y="360445"/>
                    <a:pt x="29280" y="327126"/>
                  </a:cubicBezTo>
                  <a:lnTo>
                    <a:pt x="29280" y="144884"/>
                  </a:lnTo>
                  <a:lnTo>
                    <a:pt x="0" y="144884"/>
                  </a:lnTo>
                  <a:lnTo>
                    <a:pt x="0" y="139331"/>
                  </a:lnTo>
                  <a:lnTo>
                    <a:pt x="29280" y="128225"/>
                  </a:lnTo>
                  <a:lnTo>
                    <a:pt x="29280" y="113585"/>
                  </a:lnTo>
                  <a:cubicBezTo>
                    <a:pt x="29280" y="36347"/>
                    <a:pt x="79763" y="0"/>
                    <a:pt x="15094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26" name="TextBox 25"/>
            <p:cNvSpPr txBox="1">
              <a:spLocks/>
            </p:cNvSpPr>
            <p:nvPr/>
          </p:nvSpPr>
          <p:spPr>
            <a:xfrm>
              <a:off x="10825458" y="644149"/>
              <a:ext cx="167188" cy="16742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27" name="TextBox 26"/>
            <p:cNvSpPr txBox="1">
              <a:spLocks/>
            </p:cNvSpPr>
            <p:nvPr/>
          </p:nvSpPr>
          <p:spPr>
            <a:xfrm>
              <a:off x="11249402" y="691818"/>
              <a:ext cx="113009" cy="119752"/>
            </a:xfrm>
            <a:custGeom>
              <a:avLst/>
              <a:gdLst/>
              <a:ahLst/>
              <a:cxnLst/>
              <a:rect l="l" t="t" r="r" b="b"/>
              <a:pathLst>
                <a:path w="245345" h="259984">
                  <a:moveTo>
                    <a:pt x="144885" y="0"/>
                  </a:moveTo>
                  <a:cubicBezTo>
                    <a:pt x="199406" y="0"/>
                    <a:pt x="240297" y="23726"/>
                    <a:pt x="240297" y="65122"/>
                  </a:cubicBezTo>
                  <a:cubicBezTo>
                    <a:pt x="240297" y="95411"/>
                    <a:pt x="217075" y="111061"/>
                    <a:pt x="192843" y="111061"/>
                  </a:cubicBezTo>
                  <a:cubicBezTo>
                    <a:pt x="166087" y="111061"/>
                    <a:pt x="150438" y="96421"/>
                    <a:pt x="148923" y="81781"/>
                  </a:cubicBezTo>
                  <a:cubicBezTo>
                    <a:pt x="151952" y="82791"/>
                    <a:pt x="155486" y="83296"/>
                    <a:pt x="158010" y="83296"/>
                  </a:cubicBezTo>
                  <a:cubicBezTo>
                    <a:pt x="176689" y="83296"/>
                    <a:pt x="184261" y="67646"/>
                    <a:pt x="184261" y="48463"/>
                  </a:cubicBezTo>
                  <a:cubicBezTo>
                    <a:pt x="184261" y="24231"/>
                    <a:pt x="171136" y="8582"/>
                    <a:pt x="145894" y="8582"/>
                  </a:cubicBezTo>
                  <a:cubicBezTo>
                    <a:pt x="110557" y="8582"/>
                    <a:pt x="93897" y="54016"/>
                    <a:pt x="93897" y="112575"/>
                  </a:cubicBezTo>
                  <a:cubicBezTo>
                    <a:pt x="93897" y="181737"/>
                    <a:pt x="124692" y="218589"/>
                    <a:pt x="171640" y="218589"/>
                  </a:cubicBezTo>
                  <a:cubicBezTo>
                    <a:pt x="200415" y="218589"/>
                    <a:pt x="226666" y="204958"/>
                    <a:pt x="242316" y="173659"/>
                  </a:cubicBezTo>
                  <a:lnTo>
                    <a:pt x="245345" y="175174"/>
                  </a:lnTo>
                  <a:cubicBezTo>
                    <a:pt x="231210" y="229190"/>
                    <a:pt x="185775" y="259984"/>
                    <a:pt x="129740" y="259984"/>
                  </a:cubicBezTo>
                  <a:cubicBezTo>
                    <a:pt x="60074" y="259984"/>
                    <a:pt x="0" y="213036"/>
                    <a:pt x="0" y="134788"/>
                  </a:cubicBezTo>
                  <a:cubicBezTo>
                    <a:pt x="0" y="49977"/>
                    <a:pt x="63608" y="0"/>
                    <a:pt x="144885"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28" name="TextBox 27"/>
            <p:cNvSpPr txBox="1">
              <a:spLocks/>
            </p:cNvSpPr>
            <p:nvPr/>
          </p:nvSpPr>
          <p:spPr>
            <a:xfrm>
              <a:off x="11372247" y="691818"/>
              <a:ext cx="116032" cy="119752"/>
            </a:xfrm>
            <a:custGeom>
              <a:avLst/>
              <a:gdLst/>
              <a:ahLst/>
              <a:cxnLst/>
              <a:rect l="l" t="t" r="r" b="b"/>
              <a:pathLst>
                <a:path w="251908" h="259984">
                  <a:moveTo>
                    <a:pt x="132264" y="0"/>
                  </a:moveTo>
                  <a:cubicBezTo>
                    <a:pt x="213541" y="0"/>
                    <a:pt x="251908" y="51996"/>
                    <a:pt x="251908" y="118633"/>
                  </a:cubicBezTo>
                  <a:lnTo>
                    <a:pt x="91373" y="118633"/>
                  </a:lnTo>
                  <a:cubicBezTo>
                    <a:pt x="91373" y="181232"/>
                    <a:pt x="124187" y="218589"/>
                    <a:pt x="172650" y="218589"/>
                  </a:cubicBezTo>
                  <a:cubicBezTo>
                    <a:pt x="203444" y="218589"/>
                    <a:pt x="230200" y="204958"/>
                    <a:pt x="245850" y="173659"/>
                  </a:cubicBezTo>
                  <a:lnTo>
                    <a:pt x="249383" y="175174"/>
                  </a:lnTo>
                  <a:cubicBezTo>
                    <a:pt x="234744" y="229190"/>
                    <a:pt x="189309" y="259984"/>
                    <a:pt x="131759" y="259984"/>
                  </a:cubicBezTo>
                  <a:cubicBezTo>
                    <a:pt x="59569" y="259984"/>
                    <a:pt x="0" y="212531"/>
                    <a:pt x="0" y="130244"/>
                  </a:cubicBezTo>
                  <a:cubicBezTo>
                    <a:pt x="0" y="50987"/>
                    <a:pt x="60074" y="0"/>
                    <a:pt x="132264" y="0"/>
                  </a:cubicBezTo>
                  <a:close/>
                  <a:moveTo>
                    <a:pt x="132264" y="8582"/>
                  </a:moveTo>
                  <a:cubicBezTo>
                    <a:pt x="106013" y="8582"/>
                    <a:pt x="92888" y="48463"/>
                    <a:pt x="91878" y="108032"/>
                  </a:cubicBezTo>
                  <a:lnTo>
                    <a:pt x="165078" y="108032"/>
                  </a:lnTo>
                  <a:cubicBezTo>
                    <a:pt x="165078" y="51492"/>
                    <a:pt x="161039" y="8582"/>
                    <a:pt x="132264" y="8582"/>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29" name="TextBox 28"/>
            <p:cNvSpPr txBox="1">
              <a:spLocks/>
            </p:cNvSpPr>
            <p:nvPr/>
          </p:nvSpPr>
          <p:spPr>
            <a:xfrm>
              <a:off x="11173887" y="694143"/>
              <a:ext cx="64875" cy="115102"/>
            </a:xfrm>
            <a:custGeom>
              <a:avLst/>
              <a:gdLst/>
              <a:ahLst/>
              <a:cxnLst/>
              <a:rect l="l" t="t" r="r" b="b"/>
              <a:pathLst>
                <a:path w="140846" h="249888">
                  <a:moveTo>
                    <a:pt x="0" y="0"/>
                  </a:moveTo>
                  <a:lnTo>
                    <a:pt x="117119" y="0"/>
                  </a:lnTo>
                  <a:lnTo>
                    <a:pt x="117119" y="194862"/>
                  </a:lnTo>
                  <a:cubicBezTo>
                    <a:pt x="117119" y="228181"/>
                    <a:pt x="118633" y="234743"/>
                    <a:pt x="140846" y="248878"/>
                  </a:cubicBezTo>
                  <a:lnTo>
                    <a:pt x="140846" y="249888"/>
                  </a:lnTo>
                  <a:lnTo>
                    <a:pt x="3029" y="249888"/>
                  </a:lnTo>
                  <a:lnTo>
                    <a:pt x="3029" y="248878"/>
                  </a:lnTo>
                  <a:cubicBezTo>
                    <a:pt x="25241" y="234743"/>
                    <a:pt x="26755" y="228181"/>
                    <a:pt x="26755" y="194862"/>
                  </a:cubicBezTo>
                  <a:lnTo>
                    <a:pt x="26755" y="56035"/>
                  </a:lnTo>
                  <a:cubicBezTo>
                    <a:pt x="26755" y="21707"/>
                    <a:pt x="23726" y="14640"/>
                    <a:pt x="0" y="1009"/>
                  </a:cubicBez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30" name="TextBox 29"/>
            <p:cNvSpPr txBox="1">
              <a:spLocks/>
            </p:cNvSpPr>
            <p:nvPr/>
          </p:nvSpPr>
          <p:spPr>
            <a:xfrm>
              <a:off x="11295676" y="842826"/>
              <a:ext cx="149051" cy="167421"/>
            </a:xfrm>
            <a:custGeom>
              <a:avLst/>
              <a:gdLst/>
              <a:ahLst/>
              <a:cxnLst/>
              <a:rect l="l" t="t" r="r" b="b"/>
              <a:pathLst>
                <a:path w="323593" h="363474">
                  <a:moveTo>
                    <a:pt x="190319" y="0"/>
                  </a:moveTo>
                  <a:cubicBezTo>
                    <a:pt x="236258" y="0"/>
                    <a:pt x="260994" y="15145"/>
                    <a:pt x="277653" y="15145"/>
                  </a:cubicBezTo>
                  <a:cubicBezTo>
                    <a:pt x="291284" y="15145"/>
                    <a:pt x="299866" y="9087"/>
                    <a:pt x="310467" y="0"/>
                  </a:cubicBezTo>
                  <a:lnTo>
                    <a:pt x="314001" y="120149"/>
                  </a:lnTo>
                  <a:lnTo>
                    <a:pt x="312991" y="120149"/>
                  </a:lnTo>
                  <a:cubicBezTo>
                    <a:pt x="287750" y="56541"/>
                    <a:pt x="250393" y="11107"/>
                    <a:pt x="199910" y="11107"/>
                  </a:cubicBezTo>
                  <a:cubicBezTo>
                    <a:pt x="137312" y="11107"/>
                    <a:pt x="101974" y="80268"/>
                    <a:pt x="101974" y="164573"/>
                  </a:cubicBezTo>
                  <a:cubicBezTo>
                    <a:pt x="101974" y="260490"/>
                    <a:pt x="155486" y="315011"/>
                    <a:pt x="221113" y="315011"/>
                  </a:cubicBezTo>
                  <a:cubicBezTo>
                    <a:pt x="263014" y="315011"/>
                    <a:pt x="297846" y="300371"/>
                    <a:pt x="320564" y="252918"/>
                  </a:cubicBezTo>
                  <a:lnTo>
                    <a:pt x="323593" y="253927"/>
                  </a:lnTo>
                  <a:cubicBezTo>
                    <a:pt x="306428" y="321574"/>
                    <a:pt x="252412" y="363474"/>
                    <a:pt x="173660" y="363474"/>
                  </a:cubicBezTo>
                  <a:cubicBezTo>
                    <a:pt x="74209" y="363474"/>
                    <a:pt x="0" y="293304"/>
                    <a:pt x="0" y="186786"/>
                  </a:cubicBezTo>
                  <a:cubicBezTo>
                    <a:pt x="0" y="76229"/>
                    <a:pt x="85820" y="0"/>
                    <a:pt x="190319"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31" name="TextBox 30"/>
            <p:cNvSpPr txBox="1">
              <a:spLocks/>
            </p:cNvSpPr>
            <p:nvPr/>
          </p:nvSpPr>
          <p:spPr>
            <a:xfrm>
              <a:off x="11637888" y="842826"/>
              <a:ext cx="167188" cy="16742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32" name="TextBox 31"/>
            <p:cNvSpPr txBox="1">
              <a:spLocks/>
            </p:cNvSpPr>
            <p:nvPr/>
          </p:nvSpPr>
          <p:spPr>
            <a:xfrm>
              <a:off x="11454751" y="843059"/>
              <a:ext cx="172072" cy="164863"/>
            </a:xfrm>
            <a:custGeom>
              <a:avLst/>
              <a:gdLst/>
              <a:ahLst/>
              <a:cxnLst/>
              <a:rect l="l" t="t" r="r" b="b"/>
              <a:pathLst>
                <a:path w="373571" h="357921">
                  <a:moveTo>
                    <a:pt x="17164" y="0"/>
                  </a:moveTo>
                  <a:cubicBezTo>
                    <a:pt x="24232" y="3534"/>
                    <a:pt x="35338" y="4544"/>
                    <a:pt x="52502" y="4544"/>
                  </a:cubicBezTo>
                  <a:lnTo>
                    <a:pt x="321069" y="4544"/>
                  </a:lnTo>
                  <a:cubicBezTo>
                    <a:pt x="338233" y="4544"/>
                    <a:pt x="349339" y="3534"/>
                    <a:pt x="356407" y="0"/>
                  </a:cubicBezTo>
                  <a:lnTo>
                    <a:pt x="373571" y="119644"/>
                  </a:lnTo>
                  <a:lnTo>
                    <a:pt x="372561" y="119644"/>
                  </a:lnTo>
                  <a:cubicBezTo>
                    <a:pt x="329651" y="50988"/>
                    <a:pt x="309963" y="17669"/>
                    <a:pt x="255946" y="17669"/>
                  </a:cubicBezTo>
                  <a:lnTo>
                    <a:pt x="234239" y="17669"/>
                  </a:lnTo>
                  <a:lnTo>
                    <a:pt x="234239" y="297847"/>
                  </a:lnTo>
                  <a:cubicBezTo>
                    <a:pt x="234239" y="331165"/>
                    <a:pt x="240802" y="342272"/>
                    <a:pt x="263014" y="356912"/>
                  </a:cubicBezTo>
                  <a:lnTo>
                    <a:pt x="263014" y="357921"/>
                  </a:lnTo>
                  <a:lnTo>
                    <a:pt x="110557" y="357921"/>
                  </a:lnTo>
                  <a:lnTo>
                    <a:pt x="110557" y="356912"/>
                  </a:lnTo>
                  <a:cubicBezTo>
                    <a:pt x="133274" y="342272"/>
                    <a:pt x="139332" y="331165"/>
                    <a:pt x="139332" y="297847"/>
                  </a:cubicBezTo>
                  <a:lnTo>
                    <a:pt x="139332" y="17669"/>
                  </a:lnTo>
                  <a:lnTo>
                    <a:pt x="117624" y="17669"/>
                  </a:lnTo>
                  <a:cubicBezTo>
                    <a:pt x="63608" y="17669"/>
                    <a:pt x="43920" y="50988"/>
                    <a:pt x="1010" y="119644"/>
                  </a:cubicBezTo>
                  <a:lnTo>
                    <a:pt x="0" y="119644"/>
                  </a:lnTo>
                  <a:lnTo>
                    <a:pt x="17164"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grpSp>
          <p:nvGrpSpPr>
            <p:cNvPr id="33" name="Group 32"/>
            <p:cNvGrpSpPr/>
            <p:nvPr/>
          </p:nvGrpSpPr>
          <p:grpSpPr>
            <a:xfrm>
              <a:off x="10999013" y="849614"/>
              <a:ext cx="276809" cy="61257"/>
              <a:chOff x="10999013" y="849614"/>
              <a:chExt cx="276809" cy="61257"/>
            </a:xfrm>
            <a:solidFill>
              <a:schemeClr val="accent3"/>
            </a:solidFill>
          </p:grpSpPr>
          <p:sp>
            <p:nvSpPr>
              <p:cNvPr id="34" name="TextBox 33"/>
              <p:cNvSpPr txBox="1">
                <a:spLocks/>
              </p:cNvSpPr>
              <p:nvPr/>
            </p:nvSpPr>
            <p:spPr>
              <a:xfrm>
                <a:off x="10999013" y="849614"/>
                <a:ext cx="60220" cy="61257"/>
              </a:xfrm>
              <a:custGeom>
                <a:avLst/>
                <a:gdLst/>
                <a:ahLst/>
                <a:cxnLst/>
                <a:rect l="l" t="t" r="r" b="b"/>
                <a:pathLst>
                  <a:path w="130738" h="132991">
                    <a:moveTo>
                      <a:pt x="65709" y="0"/>
                    </a:moveTo>
                    <a:cubicBezTo>
                      <a:pt x="86122" y="0"/>
                      <a:pt x="102063" y="5891"/>
                      <a:pt x="113533" y="17673"/>
                    </a:cubicBezTo>
                    <a:cubicBezTo>
                      <a:pt x="125003" y="29455"/>
                      <a:pt x="130738" y="45715"/>
                      <a:pt x="130738" y="66451"/>
                    </a:cubicBezTo>
                    <a:cubicBezTo>
                      <a:pt x="130738" y="87129"/>
                      <a:pt x="124987" y="103389"/>
                      <a:pt x="113485" y="115230"/>
                    </a:cubicBezTo>
                    <a:cubicBezTo>
                      <a:pt x="101982" y="127071"/>
                      <a:pt x="85992" y="132991"/>
                      <a:pt x="65515" y="132991"/>
                    </a:cubicBezTo>
                    <a:cubicBezTo>
                      <a:pt x="44584" y="132991"/>
                      <a:pt x="28432" y="127174"/>
                      <a:pt x="17059" y="115539"/>
                    </a:cubicBezTo>
                    <a:cubicBezTo>
                      <a:pt x="5686" y="103904"/>
                      <a:pt x="0" y="87483"/>
                      <a:pt x="0" y="66275"/>
                    </a:cubicBezTo>
                    <a:cubicBezTo>
                      <a:pt x="0" y="45243"/>
                      <a:pt x="5702" y="28940"/>
                      <a:pt x="17107" y="17364"/>
                    </a:cubicBezTo>
                    <a:cubicBezTo>
                      <a:pt x="28513" y="5788"/>
                      <a:pt x="44713" y="0"/>
                      <a:pt x="65709" y="0"/>
                    </a:cubicBezTo>
                    <a:close/>
                    <a:moveTo>
                      <a:pt x="65709" y="13431"/>
                    </a:moveTo>
                    <a:cubicBezTo>
                      <a:pt x="49962" y="13431"/>
                      <a:pt x="37990" y="17953"/>
                      <a:pt x="29793" y="26996"/>
                    </a:cubicBezTo>
                    <a:cubicBezTo>
                      <a:pt x="21595" y="36038"/>
                      <a:pt x="17496" y="49190"/>
                      <a:pt x="17496" y="66451"/>
                    </a:cubicBezTo>
                    <a:cubicBezTo>
                      <a:pt x="17496" y="83948"/>
                      <a:pt x="21595" y="97218"/>
                      <a:pt x="29793" y="106261"/>
                    </a:cubicBezTo>
                    <a:cubicBezTo>
                      <a:pt x="37990" y="115303"/>
                      <a:pt x="49897" y="119825"/>
                      <a:pt x="65515" y="119825"/>
                    </a:cubicBezTo>
                    <a:cubicBezTo>
                      <a:pt x="81262" y="119825"/>
                      <a:pt x="93153" y="115318"/>
                      <a:pt x="101188" y="106305"/>
                    </a:cubicBezTo>
                    <a:cubicBezTo>
                      <a:pt x="109224" y="97291"/>
                      <a:pt x="113242" y="84007"/>
                      <a:pt x="113242" y="66451"/>
                    </a:cubicBezTo>
                    <a:cubicBezTo>
                      <a:pt x="113242" y="49073"/>
                      <a:pt x="109240" y="35891"/>
                      <a:pt x="101237" y="26907"/>
                    </a:cubicBezTo>
                    <a:cubicBezTo>
                      <a:pt x="93234" y="17923"/>
                      <a:pt x="81391" y="13431"/>
                      <a:pt x="65709" y="13431"/>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35" name="TextBox 34"/>
              <p:cNvSpPr txBox="1">
                <a:spLocks/>
              </p:cNvSpPr>
              <p:nvPr/>
            </p:nvSpPr>
            <p:spPr>
              <a:xfrm>
                <a:off x="11068225" y="850549"/>
                <a:ext cx="36490" cy="59507"/>
              </a:xfrm>
              <a:custGeom>
                <a:avLst/>
                <a:gdLst/>
                <a:ahLst/>
                <a:cxnLst/>
                <a:rect l="l" t="t" r="r" b="b"/>
                <a:pathLst>
                  <a:path w="79221" h="129192">
                    <a:moveTo>
                      <a:pt x="0" y="0"/>
                    </a:moveTo>
                    <a:lnTo>
                      <a:pt x="79221" y="0"/>
                    </a:lnTo>
                    <a:lnTo>
                      <a:pt x="79221" y="13343"/>
                    </a:lnTo>
                    <a:lnTo>
                      <a:pt x="16525" y="13343"/>
                    </a:lnTo>
                    <a:lnTo>
                      <a:pt x="16525" y="60620"/>
                    </a:lnTo>
                    <a:lnTo>
                      <a:pt x="75430" y="60620"/>
                    </a:lnTo>
                    <a:lnTo>
                      <a:pt x="75430" y="73963"/>
                    </a:lnTo>
                    <a:lnTo>
                      <a:pt x="16525" y="73963"/>
                    </a:lnTo>
                    <a:lnTo>
                      <a:pt x="16525"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36" name="TextBox 35"/>
              <p:cNvSpPr txBox="1">
                <a:spLocks/>
              </p:cNvSpPr>
              <p:nvPr/>
            </p:nvSpPr>
            <p:spPr>
              <a:xfrm>
                <a:off x="11121455" y="850549"/>
                <a:ext cx="49071" cy="59507"/>
              </a:xfrm>
              <a:custGeom>
                <a:avLst/>
                <a:gdLst/>
                <a:ahLst/>
                <a:cxnLst/>
                <a:rect l="l" t="t" r="r" b="b"/>
                <a:pathLst>
                  <a:path w="106535" h="129192">
                    <a:moveTo>
                      <a:pt x="0" y="0"/>
                    </a:moveTo>
                    <a:lnTo>
                      <a:pt x="106535" y="0"/>
                    </a:lnTo>
                    <a:lnTo>
                      <a:pt x="106535" y="13343"/>
                    </a:lnTo>
                    <a:lnTo>
                      <a:pt x="61530" y="13343"/>
                    </a:lnTo>
                    <a:lnTo>
                      <a:pt x="61530" y="129192"/>
                    </a:lnTo>
                    <a:lnTo>
                      <a:pt x="45005" y="129192"/>
                    </a:lnTo>
                    <a:lnTo>
                      <a:pt x="45005" y="13343"/>
                    </a:lnTo>
                    <a:lnTo>
                      <a:pt x="0" y="13343"/>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37" name="TextBox 36"/>
              <p:cNvSpPr txBox="1">
                <a:spLocks/>
              </p:cNvSpPr>
              <p:nvPr/>
            </p:nvSpPr>
            <p:spPr>
              <a:xfrm>
                <a:off x="11177909" y="850549"/>
                <a:ext cx="49698" cy="59507"/>
              </a:xfrm>
              <a:custGeom>
                <a:avLst/>
                <a:gdLst/>
                <a:ahLst/>
                <a:cxnLst/>
                <a:rect l="l" t="t" r="r" b="b"/>
                <a:pathLst>
                  <a:path w="107896" h="129192">
                    <a:moveTo>
                      <a:pt x="0" y="0"/>
                    </a:moveTo>
                    <a:lnTo>
                      <a:pt x="16525" y="0"/>
                    </a:lnTo>
                    <a:lnTo>
                      <a:pt x="16525" y="54964"/>
                    </a:lnTo>
                    <a:lnTo>
                      <a:pt x="91371" y="54964"/>
                    </a:lnTo>
                    <a:lnTo>
                      <a:pt x="91371" y="0"/>
                    </a:lnTo>
                    <a:lnTo>
                      <a:pt x="107896" y="0"/>
                    </a:lnTo>
                    <a:lnTo>
                      <a:pt x="107896" y="129192"/>
                    </a:lnTo>
                    <a:lnTo>
                      <a:pt x="91371" y="129192"/>
                    </a:lnTo>
                    <a:lnTo>
                      <a:pt x="91371" y="68396"/>
                    </a:lnTo>
                    <a:lnTo>
                      <a:pt x="16525" y="68396"/>
                    </a:lnTo>
                    <a:lnTo>
                      <a:pt x="16525"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38" name="TextBox 37"/>
              <p:cNvSpPr txBox="1">
                <a:spLocks/>
              </p:cNvSpPr>
              <p:nvPr/>
            </p:nvSpPr>
            <p:spPr>
              <a:xfrm>
                <a:off x="11239332" y="850549"/>
                <a:ext cx="36490" cy="59507"/>
              </a:xfrm>
              <a:custGeom>
                <a:avLst/>
                <a:gdLst/>
                <a:ahLst/>
                <a:cxnLst/>
                <a:rect l="l" t="t" r="r" b="b"/>
                <a:pathLst>
                  <a:path w="79221" h="129192">
                    <a:moveTo>
                      <a:pt x="0" y="0"/>
                    </a:moveTo>
                    <a:lnTo>
                      <a:pt x="79221" y="0"/>
                    </a:lnTo>
                    <a:lnTo>
                      <a:pt x="79221" y="13343"/>
                    </a:lnTo>
                    <a:lnTo>
                      <a:pt x="16525" y="13343"/>
                    </a:lnTo>
                    <a:lnTo>
                      <a:pt x="16525" y="54964"/>
                    </a:lnTo>
                    <a:lnTo>
                      <a:pt x="75430" y="54964"/>
                    </a:lnTo>
                    <a:lnTo>
                      <a:pt x="75430" y="68219"/>
                    </a:lnTo>
                    <a:lnTo>
                      <a:pt x="16525" y="68219"/>
                    </a:lnTo>
                    <a:lnTo>
                      <a:pt x="16525" y="115760"/>
                    </a:lnTo>
                    <a:lnTo>
                      <a:pt x="79221" y="115760"/>
                    </a:lnTo>
                    <a:lnTo>
                      <a:pt x="79221"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grpSp>
        <p:sp>
          <p:nvSpPr>
            <p:cNvPr id="39" name="Freeform 9"/>
            <p:cNvSpPr>
              <a:spLocks noEditPoints="1"/>
            </p:cNvSpPr>
            <p:nvPr/>
          </p:nvSpPr>
          <p:spPr bwMode="auto">
            <a:xfrm>
              <a:off x="10577133" y="371026"/>
              <a:ext cx="1417320" cy="783522"/>
            </a:xfrm>
            <a:custGeom>
              <a:avLst/>
              <a:gdLst>
                <a:gd name="T0" fmla="*/ 279 w 326"/>
                <a:gd name="T1" fmla="*/ 180 h 180"/>
                <a:gd name="T2" fmla="*/ 271 w 326"/>
                <a:gd name="T3" fmla="*/ 179 h 180"/>
                <a:gd name="T4" fmla="*/ 45 w 326"/>
                <a:gd name="T5" fmla="*/ 179 h 180"/>
                <a:gd name="T6" fmla="*/ 6 w 326"/>
                <a:gd name="T7" fmla="*/ 153 h 180"/>
                <a:gd name="T8" fmla="*/ 0 w 326"/>
                <a:gd name="T9" fmla="*/ 129 h 180"/>
                <a:gd name="T10" fmla="*/ 32 w 326"/>
                <a:gd name="T11" fmla="*/ 82 h 180"/>
                <a:gd name="T12" fmla="*/ 30 w 326"/>
                <a:gd name="T13" fmla="*/ 70 h 180"/>
                <a:gd name="T14" fmla="*/ 100 w 326"/>
                <a:gd name="T15" fmla="*/ 0 h 180"/>
                <a:gd name="T16" fmla="*/ 154 w 326"/>
                <a:gd name="T17" fmla="*/ 26 h 180"/>
                <a:gd name="T18" fmla="*/ 187 w 326"/>
                <a:gd name="T19" fmla="*/ 16 h 180"/>
                <a:gd name="T20" fmla="*/ 242 w 326"/>
                <a:gd name="T21" fmla="*/ 55 h 180"/>
                <a:gd name="T22" fmla="*/ 245 w 326"/>
                <a:gd name="T23" fmla="*/ 54 h 180"/>
                <a:gd name="T24" fmla="*/ 280 w 326"/>
                <a:gd name="T25" fmla="*/ 85 h 180"/>
                <a:gd name="T26" fmla="*/ 326 w 326"/>
                <a:gd name="T27" fmla="*/ 132 h 180"/>
                <a:gd name="T28" fmla="*/ 279 w 326"/>
                <a:gd name="T29" fmla="*/ 180 h 180"/>
                <a:gd name="T30" fmla="*/ 100 w 326"/>
                <a:gd name="T31" fmla="*/ 4 h 180"/>
                <a:gd name="T32" fmla="*/ 34 w 326"/>
                <a:gd name="T33" fmla="*/ 70 h 180"/>
                <a:gd name="T34" fmla="*/ 36 w 326"/>
                <a:gd name="T35" fmla="*/ 83 h 180"/>
                <a:gd name="T36" fmla="*/ 36 w 326"/>
                <a:gd name="T37" fmla="*/ 85 h 180"/>
                <a:gd name="T38" fmla="*/ 35 w 326"/>
                <a:gd name="T39" fmla="*/ 86 h 180"/>
                <a:gd name="T40" fmla="*/ 4 w 326"/>
                <a:gd name="T41" fmla="*/ 129 h 180"/>
                <a:gd name="T42" fmla="*/ 10 w 326"/>
                <a:gd name="T43" fmla="*/ 151 h 180"/>
                <a:gd name="T44" fmla="*/ 10 w 326"/>
                <a:gd name="T45" fmla="*/ 151 h 180"/>
                <a:gd name="T46" fmla="*/ 45 w 326"/>
                <a:gd name="T47" fmla="*/ 175 h 180"/>
                <a:gd name="T48" fmla="*/ 271 w 326"/>
                <a:gd name="T49" fmla="*/ 175 h 180"/>
                <a:gd name="T50" fmla="*/ 272 w 326"/>
                <a:gd name="T51" fmla="*/ 175 h 180"/>
                <a:gd name="T52" fmla="*/ 279 w 326"/>
                <a:gd name="T53" fmla="*/ 176 h 180"/>
                <a:gd name="T54" fmla="*/ 322 w 326"/>
                <a:gd name="T55" fmla="*/ 132 h 180"/>
                <a:gd name="T56" fmla="*/ 279 w 326"/>
                <a:gd name="T57" fmla="*/ 89 h 180"/>
                <a:gd name="T58" fmla="*/ 278 w 326"/>
                <a:gd name="T59" fmla="*/ 89 h 180"/>
                <a:gd name="T60" fmla="*/ 276 w 326"/>
                <a:gd name="T61" fmla="*/ 89 h 180"/>
                <a:gd name="T62" fmla="*/ 276 w 326"/>
                <a:gd name="T63" fmla="*/ 87 h 180"/>
                <a:gd name="T64" fmla="*/ 245 w 326"/>
                <a:gd name="T65" fmla="*/ 58 h 180"/>
                <a:gd name="T66" fmla="*/ 240 w 326"/>
                <a:gd name="T67" fmla="*/ 59 h 180"/>
                <a:gd name="T68" fmla="*/ 239 w 326"/>
                <a:gd name="T69" fmla="*/ 59 h 180"/>
                <a:gd name="T70" fmla="*/ 238 w 326"/>
                <a:gd name="T71" fmla="*/ 57 h 180"/>
                <a:gd name="T72" fmla="*/ 187 w 326"/>
                <a:gd name="T73" fmla="*/ 20 h 180"/>
                <a:gd name="T74" fmla="*/ 155 w 326"/>
                <a:gd name="T75" fmla="*/ 30 h 180"/>
                <a:gd name="T76" fmla="*/ 153 w 326"/>
                <a:gd name="T77" fmla="*/ 31 h 180"/>
                <a:gd name="T78" fmla="*/ 152 w 326"/>
                <a:gd name="T79" fmla="*/ 30 h 180"/>
                <a:gd name="T80" fmla="*/ 100 w 326"/>
                <a:gd name="T8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6" h="180">
                  <a:moveTo>
                    <a:pt x="279" y="180"/>
                  </a:moveTo>
                  <a:cubicBezTo>
                    <a:pt x="276" y="180"/>
                    <a:pt x="274" y="179"/>
                    <a:pt x="271" y="179"/>
                  </a:cubicBezTo>
                  <a:cubicBezTo>
                    <a:pt x="45" y="179"/>
                    <a:pt x="45" y="179"/>
                    <a:pt x="45" y="179"/>
                  </a:cubicBezTo>
                  <a:cubicBezTo>
                    <a:pt x="28" y="179"/>
                    <a:pt x="13" y="169"/>
                    <a:pt x="6" y="153"/>
                  </a:cubicBezTo>
                  <a:cubicBezTo>
                    <a:pt x="2" y="146"/>
                    <a:pt x="0" y="137"/>
                    <a:pt x="0" y="129"/>
                  </a:cubicBezTo>
                  <a:cubicBezTo>
                    <a:pt x="0" y="109"/>
                    <a:pt x="13" y="90"/>
                    <a:pt x="32" y="82"/>
                  </a:cubicBezTo>
                  <a:cubicBezTo>
                    <a:pt x="31" y="78"/>
                    <a:pt x="30" y="74"/>
                    <a:pt x="30" y="70"/>
                  </a:cubicBezTo>
                  <a:cubicBezTo>
                    <a:pt x="30" y="32"/>
                    <a:pt x="62" y="0"/>
                    <a:pt x="100" y="0"/>
                  </a:cubicBezTo>
                  <a:cubicBezTo>
                    <a:pt x="121" y="0"/>
                    <a:pt x="141" y="10"/>
                    <a:pt x="154" y="26"/>
                  </a:cubicBezTo>
                  <a:cubicBezTo>
                    <a:pt x="164" y="19"/>
                    <a:pt x="175" y="16"/>
                    <a:pt x="187" y="16"/>
                  </a:cubicBezTo>
                  <a:cubicBezTo>
                    <a:pt x="212" y="16"/>
                    <a:pt x="233" y="31"/>
                    <a:pt x="242" y="55"/>
                  </a:cubicBezTo>
                  <a:cubicBezTo>
                    <a:pt x="243" y="54"/>
                    <a:pt x="244" y="54"/>
                    <a:pt x="245" y="54"/>
                  </a:cubicBezTo>
                  <a:cubicBezTo>
                    <a:pt x="263" y="54"/>
                    <a:pt x="278" y="68"/>
                    <a:pt x="280" y="85"/>
                  </a:cubicBezTo>
                  <a:cubicBezTo>
                    <a:pt x="305" y="86"/>
                    <a:pt x="326" y="107"/>
                    <a:pt x="326" y="132"/>
                  </a:cubicBezTo>
                  <a:cubicBezTo>
                    <a:pt x="326" y="158"/>
                    <a:pt x="305" y="180"/>
                    <a:pt x="279" y="180"/>
                  </a:cubicBezTo>
                  <a:close/>
                  <a:moveTo>
                    <a:pt x="100" y="4"/>
                  </a:moveTo>
                  <a:cubicBezTo>
                    <a:pt x="64" y="4"/>
                    <a:pt x="34" y="34"/>
                    <a:pt x="34" y="70"/>
                  </a:cubicBezTo>
                  <a:cubicBezTo>
                    <a:pt x="34" y="75"/>
                    <a:pt x="35" y="79"/>
                    <a:pt x="36" y="83"/>
                  </a:cubicBezTo>
                  <a:cubicBezTo>
                    <a:pt x="36" y="85"/>
                    <a:pt x="36" y="85"/>
                    <a:pt x="36" y="85"/>
                  </a:cubicBezTo>
                  <a:cubicBezTo>
                    <a:pt x="35" y="86"/>
                    <a:pt x="35" y="86"/>
                    <a:pt x="35" y="86"/>
                  </a:cubicBezTo>
                  <a:cubicBezTo>
                    <a:pt x="16" y="92"/>
                    <a:pt x="4" y="110"/>
                    <a:pt x="4" y="129"/>
                  </a:cubicBezTo>
                  <a:cubicBezTo>
                    <a:pt x="4" y="137"/>
                    <a:pt x="6" y="144"/>
                    <a:pt x="10" y="151"/>
                  </a:cubicBezTo>
                  <a:cubicBezTo>
                    <a:pt x="10" y="151"/>
                    <a:pt x="10" y="151"/>
                    <a:pt x="10" y="151"/>
                  </a:cubicBezTo>
                  <a:cubicBezTo>
                    <a:pt x="16" y="166"/>
                    <a:pt x="30" y="175"/>
                    <a:pt x="45" y="175"/>
                  </a:cubicBezTo>
                  <a:cubicBezTo>
                    <a:pt x="271" y="175"/>
                    <a:pt x="271" y="175"/>
                    <a:pt x="271" y="175"/>
                  </a:cubicBezTo>
                  <a:cubicBezTo>
                    <a:pt x="272" y="175"/>
                    <a:pt x="272" y="175"/>
                    <a:pt x="272" y="175"/>
                  </a:cubicBezTo>
                  <a:cubicBezTo>
                    <a:pt x="274" y="175"/>
                    <a:pt x="276" y="176"/>
                    <a:pt x="279" y="176"/>
                  </a:cubicBezTo>
                  <a:cubicBezTo>
                    <a:pt x="303" y="176"/>
                    <a:pt x="322" y="156"/>
                    <a:pt x="322" y="132"/>
                  </a:cubicBezTo>
                  <a:cubicBezTo>
                    <a:pt x="322" y="109"/>
                    <a:pt x="303" y="89"/>
                    <a:pt x="279" y="89"/>
                  </a:cubicBezTo>
                  <a:cubicBezTo>
                    <a:pt x="279" y="89"/>
                    <a:pt x="278" y="89"/>
                    <a:pt x="278" y="89"/>
                  </a:cubicBezTo>
                  <a:cubicBezTo>
                    <a:pt x="276" y="89"/>
                    <a:pt x="276" y="89"/>
                    <a:pt x="276" y="89"/>
                  </a:cubicBezTo>
                  <a:cubicBezTo>
                    <a:pt x="276" y="87"/>
                    <a:pt x="276" y="87"/>
                    <a:pt x="276" y="87"/>
                  </a:cubicBezTo>
                  <a:cubicBezTo>
                    <a:pt x="275" y="71"/>
                    <a:pt x="261" y="58"/>
                    <a:pt x="245" y="58"/>
                  </a:cubicBezTo>
                  <a:cubicBezTo>
                    <a:pt x="243" y="58"/>
                    <a:pt x="242" y="59"/>
                    <a:pt x="240" y="59"/>
                  </a:cubicBezTo>
                  <a:cubicBezTo>
                    <a:pt x="239" y="59"/>
                    <a:pt x="239" y="59"/>
                    <a:pt x="239" y="59"/>
                  </a:cubicBezTo>
                  <a:cubicBezTo>
                    <a:pt x="238" y="57"/>
                    <a:pt x="238" y="57"/>
                    <a:pt x="238" y="57"/>
                  </a:cubicBezTo>
                  <a:cubicBezTo>
                    <a:pt x="231" y="35"/>
                    <a:pt x="210" y="20"/>
                    <a:pt x="187" y="20"/>
                  </a:cubicBezTo>
                  <a:cubicBezTo>
                    <a:pt x="175" y="20"/>
                    <a:pt x="164" y="23"/>
                    <a:pt x="155" y="30"/>
                  </a:cubicBezTo>
                  <a:cubicBezTo>
                    <a:pt x="153" y="31"/>
                    <a:pt x="153" y="31"/>
                    <a:pt x="153" y="31"/>
                  </a:cubicBezTo>
                  <a:cubicBezTo>
                    <a:pt x="152" y="30"/>
                    <a:pt x="152" y="30"/>
                    <a:pt x="152" y="30"/>
                  </a:cubicBezTo>
                  <a:cubicBezTo>
                    <a:pt x="139" y="14"/>
                    <a:pt x="121" y="4"/>
                    <a:pt x="100" y="4"/>
                  </a:cubicBezTo>
                  <a:close/>
                </a:path>
              </a:pathLst>
            </a:custGeom>
            <a:solidFill>
              <a:srgbClr val="34697F"/>
            </a:solidFill>
            <a:ln>
              <a:noFill/>
            </a:ln>
            <a:extLst/>
          </p:spPr>
          <p:txBody>
            <a:bodyPr vert="horz" wrap="square" lIns="91440" tIns="45720" rIns="91440" bIns="45720" numCol="1" anchor="t" anchorCtr="0" compatLnSpc="1">
              <a:prstTxWarp prst="textNoShape">
                <a:avLst/>
              </a:prstTxWarp>
            </a:bodyPr>
            <a:lstStyle/>
            <a:p>
              <a:endParaRPr lang="en-US" sz="1800">
                <a:latin typeface="Arial" panose="020B0604020202020204" pitchFamily="34" charset="0"/>
                <a:cs typeface="Arial" panose="020B0604020202020204" pitchFamily="34" charset="0"/>
                <a:sym typeface="Arial" panose="020B0604020202020204" pitchFamily="34" charset="0"/>
              </a:endParaRPr>
            </a:p>
          </p:txBody>
        </p:sp>
      </p:grpSp>
      <p:sp>
        <p:nvSpPr>
          <p:cNvPr id="42" name="Title 1"/>
          <p:cNvSpPr>
            <a:spLocks noGrp="1"/>
          </p:cNvSpPr>
          <p:nvPr>
            <p:ph type="title" hasCustomPrompt="1"/>
          </p:nvPr>
        </p:nvSpPr>
        <p:spPr>
          <a:xfrm>
            <a:off x="457200" y="296379"/>
            <a:ext cx="9688623" cy="476805"/>
          </a:xfrm>
          <a:prstGeom prst="rect">
            <a:avLst/>
          </a:prstGeom>
        </p:spPr>
        <p:txBody>
          <a:bodyPr tIns="0" bIns="0" anchor="t" anchorCtr="0"/>
          <a:lstStyle>
            <a:lvl1pPr algn="l">
              <a:defRPr sz="3000" b="1">
                <a:solidFill>
                  <a:schemeClr val="bg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stStyle>
          <a:p>
            <a:r>
              <a:rPr lang="en-US" dirty="0"/>
              <a:t>Title</a:t>
            </a:r>
          </a:p>
        </p:txBody>
      </p:sp>
      <p:sp>
        <p:nvSpPr>
          <p:cNvPr id="43" name="Text Placeholder 9"/>
          <p:cNvSpPr>
            <a:spLocks noGrp="1"/>
          </p:cNvSpPr>
          <p:nvPr>
            <p:ph type="body" sz="quarter" idx="11" hasCustomPrompt="1"/>
          </p:nvPr>
        </p:nvSpPr>
        <p:spPr>
          <a:xfrm>
            <a:off x="457200" y="860151"/>
            <a:ext cx="9688622" cy="423094"/>
          </a:xfrm>
          <a:prstGeom prst="rect">
            <a:avLst/>
          </a:prstGeom>
        </p:spPr>
        <p:txBody>
          <a:bodyPr anchor="ctr"/>
          <a:lstStyle>
            <a:lvl1pPr algn="l">
              <a:lnSpc>
                <a:spcPct val="90000"/>
              </a:lnSpc>
              <a:spcBef>
                <a:spcPts val="0"/>
              </a:spcBef>
              <a:defRPr sz="200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pPr lvl="0"/>
            <a:r>
              <a:rPr lang="en-US" dirty="0"/>
              <a:t>Subtitle</a:t>
            </a:r>
          </a:p>
        </p:txBody>
      </p:sp>
      <p:sp>
        <p:nvSpPr>
          <p:cNvPr id="41" name="Text Placeholder 4"/>
          <p:cNvSpPr>
            <a:spLocks noGrp="1"/>
          </p:cNvSpPr>
          <p:nvPr>
            <p:ph type="body" sz="quarter" idx="12" hasCustomPrompt="1"/>
          </p:nvPr>
        </p:nvSpPr>
        <p:spPr>
          <a:xfrm>
            <a:off x="4753301" y="2011681"/>
            <a:ext cx="6976736" cy="4174372"/>
          </a:xfrm>
          <a:prstGeom prst="rect">
            <a:avLst/>
          </a:prstGeo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lvl="0"/>
            <a:r>
              <a:rPr lang="en-US" dirty="0"/>
              <a:t>Body text</a:t>
            </a:r>
          </a:p>
        </p:txBody>
      </p:sp>
    </p:spTree>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lternate Internal Slide 2">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9702838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0" name="think-cell Slide" r:id="rId4" imgW="498" imgH="499" progId="TCLayout.ActiveDocument.1">
                  <p:embed/>
                </p:oleObj>
              </mc:Choice>
              <mc:Fallback>
                <p:oleObj name="think-cell Slide" r:id="rId4" imgW="498" imgH="499"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4" name="Rectangle 23"/>
          <p:cNvSpPr/>
          <p:nvPr/>
        </p:nvSpPr>
        <p:spPr>
          <a:xfrm>
            <a:off x="0" y="1554481"/>
            <a:ext cx="2743915" cy="5319665"/>
          </a:xfrm>
          <a:prstGeom prst="rect">
            <a:avLst/>
          </a:prstGeom>
          <a:solidFill>
            <a:schemeClr val="bg2">
              <a:lumMod val="20000"/>
              <a:lumOff val="80000"/>
            </a:schemeClr>
          </a:solidFill>
          <a:ln>
            <a:noFill/>
          </a:ln>
        </p:spPr>
        <p:txBody>
          <a:bodyPr wrap="square" lIns="365760" tIns="91440" rIns="365760" bIns="182880" anchor="ctr">
            <a:noAutofit/>
          </a:bodyPr>
          <a:lstStyle/>
          <a:p>
            <a:endParaRPr lang="en-US" sz="70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3" name="Rectangle 2"/>
          <p:cNvSpPr/>
          <p:nvPr/>
        </p:nvSpPr>
        <p:spPr>
          <a:xfrm>
            <a:off x="0" y="1"/>
            <a:ext cx="12191996" cy="1554480"/>
          </a:xfrm>
          <a:prstGeom prst="rect">
            <a:avLst/>
          </a:prstGeom>
          <a:solidFill>
            <a:srgbClr val="064E69"/>
          </a:solidFill>
        </p:spPr>
        <p:txBody>
          <a:bodyPr wrap="square" lIns="548640" tIns="0" rIns="91440" bIns="0" anchor="ctr">
            <a:noAutofit/>
          </a:bodyPr>
          <a:lstStyle/>
          <a:p>
            <a:endParaRPr lang="en-US" sz="4000" b="1" dirty="0">
              <a:solidFill>
                <a:schemeClr val="bg1"/>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4" name="Rectangle 3"/>
          <p:cNvSpPr/>
          <p:nvPr/>
        </p:nvSpPr>
        <p:spPr>
          <a:xfrm>
            <a:off x="-1" y="1448246"/>
            <a:ext cx="12192127" cy="106731"/>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1" dirty="0">
              <a:latin typeface="Arial" panose="020B0604020202020204" pitchFamily="34" charset="0"/>
              <a:cs typeface="Arial" panose="020B0604020202020204" pitchFamily="34" charset="0"/>
              <a:sym typeface="Arial" panose="020B0604020202020204" pitchFamily="34" charset="0"/>
            </a:endParaRPr>
          </a:p>
        </p:txBody>
      </p:sp>
      <p:cxnSp>
        <p:nvCxnSpPr>
          <p:cNvPr id="7" name="Straight Connector 6"/>
          <p:cNvCxnSpPr/>
          <p:nvPr/>
        </p:nvCxnSpPr>
        <p:spPr>
          <a:xfrm>
            <a:off x="10363874" y="222724"/>
            <a:ext cx="0" cy="1032988"/>
          </a:xfrm>
          <a:prstGeom prst="line">
            <a:avLst/>
          </a:prstGeom>
          <a:ln w="15875" cmpd="sng">
            <a:solidFill>
              <a:schemeClr val="accent2">
                <a:lumMod val="75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2" name="Group 1"/>
          <p:cNvGrpSpPr/>
          <p:nvPr/>
        </p:nvGrpSpPr>
        <p:grpSpPr>
          <a:xfrm>
            <a:off x="10579888" y="371026"/>
            <a:ext cx="1417689" cy="783522"/>
            <a:chOff x="10577133" y="371026"/>
            <a:chExt cx="1417320" cy="783522"/>
          </a:xfrm>
        </p:grpSpPr>
        <p:sp>
          <p:nvSpPr>
            <p:cNvPr id="26" name="TextBox 25"/>
            <p:cNvSpPr txBox="1">
              <a:spLocks/>
            </p:cNvSpPr>
            <p:nvPr/>
          </p:nvSpPr>
          <p:spPr>
            <a:xfrm>
              <a:off x="11006005" y="633221"/>
              <a:ext cx="224154" cy="176024"/>
            </a:xfrm>
            <a:custGeom>
              <a:avLst/>
              <a:gdLst/>
              <a:ahLst/>
              <a:cxnLst/>
              <a:rect l="l" t="t" r="r" b="b"/>
              <a:pathLst>
                <a:path w="486642" h="382152">
                  <a:moveTo>
                    <a:pt x="150943" y="0"/>
                  </a:moveTo>
                  <a:cubicBezTo>
                    <a:pt x="191582" y="0"/>
                    <a:pt x="224490" y="12368"/>
                    <a:pt x="232082" y="39810"/>
                  </a:cubicBezTo>
                  <a:lnTo>
                    <a:pt x="232262" y="41192"/>
                  </a:lnTo>
                  <a:lnTo>
                    <a:pt x="244394" y="27828"/>
                  </a:lnTo>
                  <a:cubicBezTo>
                    <a:pt x="265912" y="9086"/>
                    <a:pt x="296328" y="0"/>
                    <a:pt x="331918" y="0"/>
                  </a:cubicBezTo>
                  <a:cubicBezTo>
                    <a:pt x="355140" y="0"/>
                    <a:pt x="375838" y="4038"/>
                    <a:pt x="390730" y="12620"/>
                  </a:cubicBezTo>
                  <a:lnTo>
                    <a:pt x="399550" y="19037"/>
                  </a:lnTo>
                  <a:lnTo>
                    <a:pt x="415123" y="9213"/>
                  </a:lnTo>
                  <a:cubicBezTo>
                    <a:pt x="421204" y="6846"/>
                    <a:pt x="427956" y="5553"/>
                    <a:pt x="435150" y="5553"/>
                  </a:cubicBezTo>
                  <a:cubicBezTo>
                    <a:pt x="464430" y="5553"/>
                    <a:pt x="486642" y="26250"/>
                    <a:pt x="486642" y="53511"/>
                  </a:cubicBezTo>
                  <a:cubicBezTo>
                    <a:pt x="486642" y="80772"/>
                    <a:pt x="464430" y="101974"/>
                    <a:pt x="435150" y="101974"/>
                  </a:cubicBezTo>
                  <a:cubicBezTo>
                    <a:pt x="420763" y="101974"/>
                    <a:pt x="408142" y="96674"/>
                    <a:pt x="399118" y="87965"/>
                  </a:cubicBezTo>
                  <a:lnTo>
                    <a:pt x="397141" y="85099"/>
                  </a:lnTo>
                  <a:lnTo>
                    <a:pt x="387023" y="90979"/>
                  </a:lnTo>
                  <a:cubicBezTo>
                    <a:pt x="381675" y="92887"/>
                    <a:pt x="375838" y="93897"/>
                    <a:pt x="369780" y="93897"/>
                  </a:cubicBezTo>
                  <a:cubicBezTo>
                    <a:pt x="355140" y="93897"/>
                    <a:pt x="342015" y="89354"/>
                    <a:pt x="335452" y="81781"/>
                  </a:cubicBezTo>
                  <a:cubicBezTo>
                    <a:pt x="350092" y="78247"/>
                    <a:pt x="359179" y="66132"/>
                    <a:pt x="359179" y="42910"/>
                  </a:cubicBezTo>
                  <a:cubicBezTo>
                    <a:pt x="359179" y="22717"/>
                    <a:pt x="350597" y="8077"/>
                    <a:pt x="331918" y="8077"/>
                  </a:cubicBezTo>
                  <a:cubicBezTo>
                    <a:pt x="308696" y="8077"/>
                    <a:pt x="300619" y="29784"/>
                    <a:pt x="300619" y="58054"/>
                  </a:cubicBezTo>
                  <a:lnTo>
                    <a:pt x="300619" y="132264"/>
                  </a:lnTo>
                  <a:lnTo>
                    <a:pt x="363217" y="132264"/>
                  </a:lnTo>
                  <a:lnTo>
                    <a:pt x="360693" y="144884"/>
                  </a:lnTo>
                  <a:lnTo>
                    <a:pt x="300619" y="144884"/>
                  </a:lnTo>
                  <a:lnTo>
                    <a:pt x="300619" y="327126"/>
                  </a:lnTo>
                  <a:cubicBezTo>
                    <a:pt x="300619" y="360445"/>
                    <a:pt x="312230" y="369027"/>
                    <a:pt x="339490" y="381142"/>
                  </a:cubicBezTo>
                  <a:lnTo>
                    <a:pt x="339490" y="382152"/>
                  </a:lnTo>
                  <a:lnTo>
                    <a:pt x="186529" y="382152"/>
                  </a:lnTo>
                  <a:lnTo>
                    <a:pt x="186529" y="381142"/>
                  </a:lnTo>
                  <a:cubicBezTo>
                    <a:pt x="208741" y="367007"/>
                    <a:pt x="210255" y="360445"/>
                    <a:pt x="210255" y="327126"/>
                  </a:cubicBezTo>
                  <a:lnTo>
                    <a:pt x="210255" y="144884"/>
                  </a:lnTo>
                  <a:lnTo>
                    <a:pt x="180976" y="144884"/>
                  </a:lnTo>
                  <a:lnTo>
                    <a:pt x="180976" y="139331"/>
                  </a:lnTo>
                  <a:lnTo>
                    <a:pt x="210255" y="128225"/>
                  </a:lnTo>
                  <a:lnTo>
                    <a:pt x="210255" y="113585"/>
                  </a:lnTo>
                  <a:lnTo>
                    <a:pt x="212504" y="87227"/>
                  </a:lnTo>
                  <a:lnTo>
                    <a:pt x="206048" y="90979"/>
                  </a:lnTo>
                  <a:cubicBezTo>
                    <a:pt x="200700" y="92887"/>
                    <a:pt x="194863" y="93897"/>
                    <a:pt x="188805" y="93897"/>
                  </a:cubicBezTo>
                  <a:cubicBezTo>
                    <a:pt x="174165" y="93897"/>
                    <a:pt x="161040" y="89354"/>
                    <a:pt x="154477" y="81781"/>
                  </a:cubicBezTo>
                  <a:cubicBezTo>
                    <a:pt x="169117" y="78247"/>
                    <a:pt x="178204" y="66132"/>
                    <a:pt x="178204" y="42910"/>
                  </a:cubicBezTo>
                  <a:cubicBezTo>
                    <a:pt x="178204" y="22717"/>
                    <a:pt x="169622" y="8077"/>
                    <a:pt x="150943" y="8077"/>
                  </a:cubicBezTo>
                  <a:cubicBezTo>
                    <a:pt x="127721" y="8077"/>
                    <a:pt x="119644" y="29784"/>
                    <a:pt x="119644" y="58054"/>
                  </a:cubicBezTo>
                  <a:lnTo>
                    <a:pt x="119644" y="132264"/>
                  </a:lnTo>
                  <a:lnTo>
                    <a:pt x="182242" y="132264"/>
                  </a:lnTo>
                  <a:lnTo>
                    <a:pt x="179718" y="144884"/>
                  </a:lnTo>
                  <a:lnTo>
                    <a:pt x="119644" y="144884"/>
                  </a:lnTo>
                  <a:lnTo>
                    <a:pt x="119644" y="327126"/>
                  </a:lnTo>
                  <a:cubicBezTo>
                    <a:pt x="119644" y="360445"/>
                    <a:pt x="131255" y="369027"/>
                    <a:pt x="158516" y="381142"/>
                  </a:cubicBezTo>
                  <a:lnTo>
                    <a:pt x="158516" y="382152"/>
                  </a:lnTo>
                  <a:lnTo>
                    <a:pt x="5554" y="382152"/>
                  </a:lnTo>
                  <a:lnTo>
                    <a:pt x="5554" y="381142"/>
                  </a:lnTo>
                  <a:cubicBezTo>
                    <a:pt x="27766" y="367007"/>
                    <a:pt x="29280" y="360445"/>
                    <a:pt x="29280" y="327126"/>
                  </a:cubicBezTo>
                  <a:lnTo>
                    <a:pt x="29280" y="144884"/>
                  </a:lnTo>
                  <a:lnTo>
                    <a:pt x="0" y="144884"/>
                  </a:lnTo>
                  <a:lnTo>
                    <a:pt x="0" y="139331"/>
                  </a:lnTo>
                  <a:lnTo>
                    <a:pt x="29280" y="128225"/>
                  </a:lnTo>
                  <a:lnTo>
                    <a:pt x="29280" y="113585"/>
                  </a:lnTo>
                  <a:cubicBezTo>
                    <a:pt x="29280" y="36347"/>
                    <a:pt x="79763" y="0"/>
                    <a:pt x="15094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27" name="TextBox 26"/>
            <p:cNvSpPr txBox="1">
              <a:spLocks/>
            </p:cNvSpPr>
            <p:nvPr/>
          </p:nvSpPr>
          <p:spPr>
            <a:xfrm>
              <a:off x="10825458" y="644149"/>
              <a:ext cx="167188" cy="16742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28" name="TextBox 27"/>
            <p:cNvSpPr txBox="1">
              <a:spLocks/>
            </p:cNvSpPr>
            <p:nvPr/>
          </p:nvSpPr>
          <p:spPr>
            <a:xfrm>
              <a:off x="11249402" y="691818"/>
              <a:ext cx="113009" cy="119752"/>
            </a:xfrm>
            <a:custGeom>
              <a:avLst/>
              <a:gdLst/>
              <a:ahLst/>
              <a:cxnLst/>
              <a:rect l="l" t="t" r="r" b="b"/>
              <a:pathLst>
                <a:path w="245345" h="259984">
                  <a:moveTo>
                    <a:pt x="144885" y="0"/>
                  </a:moveTo>
                  <a:cubicBezTo>
                    <a:pt x="199406" y="0"/>
                    <a:pt x="240297" y="23726"/>
                    <a:pt x="240297" y="65122"/>
                  </a:cubicBezTo>
                  <a:cubicBezTo>
                    <a:pt x="240297" y="95411"/>
                    <a:pt x="217075" y="111061"/>
                    <a:pt x="192843" y="111061"/>
                  </a:cubicBezTo>
                  <a:cubicBezTo>
                    <a:pt x="166087" y="111061"/>
                    <a:pt x="150438" y="96421"/>
                    <a:pt x="148923" y="81781"/>
                  </a:cubicBezTo>
                  <a:cubicBezTo>
                    <a:pt x="151952" y="82791"/>
                    <a:pt x="155486" y="83296"/>
                    <a:pt x="158010" y="83296"/>
                  </a:cubicBezTo>
                  <a:cubicBezTo>
                    <a:pt x="176689" y="83296"/>
                    <a:pt x="184261" y="67646"/>
                    <a:pt x="184261" y="48463"/>
                  </a:cubicBezTo>
                  <a:cubicBezTo>
                    <a:pt x="184261" y="24231"/>
                    <a:pt x="171136" y="8582"/>
                    <a:pt x="145894" y="8582"/>
                  </a:cubicBezTo>
                  <a:cubicBezTo>
                    <a:pt x="110557" y="8582"/>
                    <a:pt x="93897" y="54016"/>
                    <a:pt x="93897" y="112575"/>
                  </a:cubicBezTo>
                  <a:cubicBezTo>
                    <a:pt x="93897" y="181737"/>
                    <a:pt x="124692" y="218589"/>
                    <a:pt x="171640" y="218589"/>
                  </a:cubicBezTo>
                  <a:cubicBezTo>
                    <a:pt x="200415" y="218589"/>
                    <a:pt x="226666" y="204958"/>
                    <a:pt x="242316" y="173659"/>
                  </a:cubicBezTo>
                  <a:lnTo>
                    <a:pt x="245345" y="175174"/>
                  </a:lnTo>
                  <a:cubicBezTo>
                    <a:pt x="231210" y="229190"/>
                    <a:pt x="185775" y="259984"/>
                    <a:pt x="129740" y="259984"/>
                  </a:cubicBezTo>
                  <a:cubicBezTo>
                    <a:pt x="60074" y="259984"/>
                    <a:pt x="0" y="213036"/>
                    <a:pt x="0" y="134788"/>
                  </a:cubicBezTo>
                  <a:cubicBezTo>
                    <a:pt x="0" y="49977"/>
                    <a:pt x="63608" y="0"/>
                    <a:pt x="144885"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29" name="TextBox 28"/>
            <p:cNvSpPr txBox="1">
              <a:spLocks/>
            </p:cNvSpPr>
            <p:nvPr/>
          </p:nvSpPr>
          <p:spPr>
            <a:xfrm>
              <a:off x="11372247" y="691818"/>
              <a:ext cx="116032" cy="119752"/>
            </a:xfrm>
            <a:custGeom>
              <a:avLst/>
              <a:gdLst/>
              <a:ahLst/>
              <a:cxnLst/>
              <a:rect l="l" t="t" r="r" b="b"/>
              <a:pathLst>
                <a:path w="251908" h="259984">
                  <a:moveTo>
                    <a:pt x="132264" y="0"/>
                  </a:moveTo>
                  <a:cubicBezTo>
                    <a:pt x="213541" y="0"/>
                    <a:pt x="251908" y="51996"/>
                    <a:pt x="251908" y="118633"/>
                  </a:cubicBezTo>
                  <a:lnTo>
                    <a:pt x="91373" y="118633"/>
                  </a:lnTo>
                  <a:cubicBezTo>
                    <a:pt x="91373" y="181232"/>
                    <a:pt x="124187" y="218589"/>
                    <a:pt x="172650" y="218589"/>
                  </a:cubicBezTo>
                  <a:cubicBezTo>
                    <a:pt x="203444" y="218589"/>
                    <a:pt x="230200" y="204958"/>
                    <a:pt x="245850" y="173659"/>
                  </a:cubicBezTo>
                  <a:lnTo>
                    <a:pt x="249383" y="175174"/>
                  </a:lnTo>
                  <a:cubicBezTo>
                    <a:pt x="234744" y="229190"/>
                    <a:pt x="189309" y="259984"/>
                    <a:pt x="131759" y="259984"/>
                  </a:cubicBezTo>
                  <a:cubicBezTo>
                    <a:pt x="59569" y="259984"/>
                    <a:pt x="0" y="212531"/>
                    <a:pt x="0" y="130244"/>
                  </a:cubicBezTo>
                  <a:cubicBezTo>
                    <a:pt x="0" y="50987"/>
                    <a:pt x="60074" y="0"/>
                    <a:pt x="132264" y="0"/>
                  </a:cubicBezTo>
                  <a:close/>
                  <a:moveTo>
                    <a:pt x="132264" y="8582"/>
                  </a:moveTo>
                  <a:cubicBezTo>
                    <a:pt x="106013" y="8582"/>
                    <a:pt x="92888" y="48463"/>
                    <a:pt x="91878" y="108032"/>
                  </a:cubicBezTo>
                  <a:lnTo>
                    <a:pt x="165078" y="108032"/>
                  </a:lnTo>
                  <a:cubicBezTo>
                    <a:pt x="165078" y="51492"/>
                    <a:pt x="161039" y="8582"/>
                    <a:pt x="132264" y="8582"/>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30" name="TextBox 29"/>
            <p:cNvSpPr txBox="1">
              <a:spLocks/>
            </p:cNvSpPr>
            <p:nvPr/>
          </p:nvSpPr>
          <p:spPr>
            <a:xfrm>
              <a:off x="11173887" y="694143"/>
              <a:ext cx="64875" cy="115102"/>
            </a:xfrm>
            <a:custGeom>
              <a:avLst/>
              <a:gdLst/>
              <a:ahLst/>
              <a:cxnLst/>
              <a:rect l="l" t="t" r="r" b="b"/>
              <a:pathLst>
                <a:path w="140846" h="249888">
                  <a:moveTo>
                    <a:pt x="0" y="0"/>
                  </a:moveTo>
                  <a:lnTo>
                    <a:pt x="117119" y="0"/>
                  </a:lnTo>
                  <a:lnTo>
                    <a:pt x="117119" y="194862"/>
                  </a:lnTo>
                  <a:cubicBezTo>
                    <a:pt x="117119" y="228181"/>
                    <a:pt x="118633" y="234743"/>
                    <a:pt x="140846" y="248878"/>
                  </a:cubicBezTo>
                  <a:lnTo>
                    <a:pt x="140846" y="249888"/>
                  </a:lnTo>
                  <a:lnTo>
                    <a:pt x="3029" y="249888"/>
                  </a:lnTo>
                  <a:lnTo>
                    <a:pt x="3029" y="248878"/>
                  </a:lnTo>
                  <a:cubicBezTo>
                    <a:pt x="25241" y="234743"/>
                    <a:pt x="26755" y="228181"/>
                    <a:pt x="26755" y="194862"/>
                  </a:cubicBezTo>
                  <a:lnTo>
                    <a:pt x="26755" y="56035"/>
                  </a:lnTo>
                  <a:cubicBezTo>
                    <a:pt x="26755" y="21707"/>
                    <a:pt x="23726" y="14640"/>
                    <a:pt x="0" y="1009"/>
                  </a:cubicBez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31" name="TextBox 30"/>
            <p:cNvSpPr txBox="1">
              <a:spLocks/>
            </p:cNvSpPr>
            <p:nvPr/>
          </p:nvSpPr>
          <p:spPr>
            <a:xfrm>
              <a:off x="11295676" y="842826"/>
              <a:ext cx="149051" cy="167421"/>
            </a:xfrm>
            <a:custGeom>
              <a:avLst/>
              <a:gdLst/>
              <a:ahLst/>
              <a:cxnLst/>
              <a:rect l="l" t="t" r="r" b="b"/>
              <a:pathLst>
                <a:path w="323593" h="363474">
                  <a:moveTo>
                    <a:pt x="190319" y="0"/>
                  </a:moveTo>
                  <a:cubicBezTo>
                    <a:pt x="236258" y="0"/>
                    <a:pt x="260994" y="15145"/>
                    <a:pt x="277653" y="15145"/>
                  </a:cubicBezTo>
                  <a:cubicBezTo>
                    <a:pt x="291284" y="15145"/>
                    <a:pt x="299866" y="9087"/>
                    <a:pt x="310467" y="0"/>
                  </a:cubicBezTo>
                  <a:lnTo>
                    <a:pt x="314001" y="120149"/>
                  </a:lnTo>
                  <a:lnTo>
                    <a:pt x="312991" y="120149"/>
                  </a:lnTo>
                  <a:cubicBezTo>
                    <a:pt x="287750" y="56541"/>
                    <a:pt x="250393" y="11107"/>
                    <a:pt x="199910" y="11107"/>
                  </a:cubicBezTo>
                  <a:cubicBezTo>
                    <a:pt x="137312" y="11107"/>
                    <a:pt x="101974" y="80268"/>
                    <a:pt x="101974" y="164573"/>
                  </a:cubicBezTo>
                  <a:cubicBezTo>
                    <a:pt x="101974" y="260490"/>
                    <a:pt x="155486" y="315011"/>
                    <a:pt x="221113" y="315011"/>
                  </a:cubicBezTo>
                  <a:cubicBezTo>
                    <a:pt x="263014" y="315011"/>
                    <a:pt x="297846" y="300371"/>
                    <a:pt x="320564" y="252918"/>
                  </a:cubicBezTo>
                  <a:lnTo>
                    <a:pt x="323593" y="253927"/>
                  </a:lnTo>
                  <a:cubicBezTo>
                    <a:pt x="306428" y="321574"/>
                    <a:pt x="252412" y="363474"/>
                    <a:pt x="173660" y="363474"/>
                  </a:cubicBezTo>
                  <a:cubicBezTo>
                    <a:pt x="74209" y="363474"/>
                    <a:pt x="0" y="293304"/>
                    <a:pt x="0" y="186786"/>
                  </a:cubicBezTo>
                  <a:cubicBezTo>
                    <a:pt x="0" y="76229"/>
                    <a:pt x="85820" y="0"/>
                    <a:pt x="190319"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32" name="TextBox 31"/>
            <p:cNvSpPr txBox="1">
              <a:spLocks/>
            </p:cNvSpPr>
            <p:nvPr/>
          </p:nvSpPr>
          <p:spPr>
            <a:xfrm>
              <a:off x="11637888" y="842826"/>
              <a:ext cx="167188" cy="16742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33" name="TextBox 32"/>
            <p:cNvSpPr txBox="1">
              <a:spLocks/>
            </p:cNvSpPr>
            <p:nvPr/>
          </p:nvSpPr>
          <p:spPr>
            <a:xfrm>
              <a:off x="11454751" y="843059"/>
              <a:ext cx="172072" cy="164863"/>
            </a:xfrm>
            <a:custGeom>
              <a:avLst/>
              <a:gdLst/>
              <a:ahLst/>
              <a:cxnLst/>
              <a:rect l="l" t="t" r="r" b="b"/>
              <a:pathLst>
                <a:path w="373571" h="357921">
                  <a:moveTo>
                    <a:pt x="17164" y="0"/>
                  </a:moveTo>
                  <a:cubicBezTo>
                    <a:pt x="24232" y="3534"/>
                    <a:pt x="35338" y="4544"/>
                    <a:pt x="52502" y="4544"/>
                  </a:cubicBezTo>
                  <a:lnTo>
                    <a:pt x="321069" y="4544"/>
                  </a:lnTo>
                  <a:cubicBezTo>
                    <a:pt x="338233" y="4544"/>
                    <a:pt x="349339" y="3534"/>
                    <a:pt x="356407" y="0"/>
                  </a:cubicBezTo>
                  <a:lnTo>
                    <a:pt x="373571" y="119644"/>
                  </a:lnTo>
                  <a:lnTo>
                    <a:pt x="372561" y="119644"/>
                  </a:lnTo>
                  <a:cubicBezTo>
                    <a:pt x="329651" y="50988"/>
                    <a:pt x="309963" y="17669"/>
                    <a:pt x="255946" y="17669"/>
                  </a:cubicBezTo>
                  <a:lnTo>
                    <a:pt x="234239" y="17669"/>
                  </a:lnTo>
                  <a:lnTo>
                    <a:pt x="234239" y="297847"/>
                  </a:lnTo>
                  <a:cubicBezTo>
                    <a:pt x="234239" y="331165"/>
                    <a:pt x="240802" y="342272"/>
                    <a:pt x="263014" y="356912"/>
                  </a:cubicBezTo>
                  <a:lnTo>
                    <a:pt x="263014" y="357921"/>
                  </a:lnTo>
                  <a:lnTo>
                    <a:pt x="110557" y="357921"/>
                  </a:lnTo>
                  <a:lnTo>
                    <a:pt x="110557" y="356912"/>
                  </a:lnTo>
                  <a:cubicBezTo>
                    <a:pt x="133274" y="342272"/>
                    <a:pt x="139332" y="331165"/>
                    <a:pt x="139332" y="297847"/>
                  </a:cubicBezTo>
                  <a:lnTo>
                    <a:pt x="139332" y="17669"/>
                  </a:lnTo>
                  <a:lnTo>
                    <a:pt x="117624" y="17669"/>
                  </a:lnTo>
                  <a:cubicBezTo>
                    <a:pt x="63608" y="17669"/>
                    <a:pt x="43920" y="50988"/>
                    <a:pt x="1010" y="119644"/>
                  </a:cubicBezTo>
                  <a:lnTo>
                    <a:pt x="0" y="119644"/>
                  </a:lnTo>
                  <a:lnTo>
                    <a:pt x="17164"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grpSp>
          <p:nvGrpSpPr>
            <p:cNvPr id="34" name="Group 33"/>
            <p:cNvGrpSpPr/>
            <p:nvPr/>
          </p:nvGrpSpPr>
          <p:grpSpPr>
            <a:xfrm>
              <a:off x="10999013" y="849614"/>
              <a:ext cx="276809" cy="61257"/>
              <a:chOff x="10999013" y="849614"/>
              <a:chExt cx="276809" cy="61257"/>
            </a:xfrm>
            <a:solidFill>
              <a:schemeClr val="accent3"/>
            </a:solidFill>
          </p:grpSpPr>
          <p:sp>
            <p:nvSpPr>
              <p:cNvPr id="35" name="TextBox 34"/>
              <p:cNvSpPr txBox="1">
                <a:spLocks/>
              </p:cNvSpPr>
              <p:nvPr/>
            </p:nvSpPr>
            <p:spPr>
              <a:xfrm>
                <a:off x="10999013" y="849614"/>
                <a:ext cx="60220" cy="61257"/>
              </a:xfrm>
              <a:custGeom>
                <a:avLst/>
                <a:gdLst/>
                <a:ahLst/>
                <a:cxnLst/>
                <a:rect l="l" t="t" r="r" b="b"/>
                <a:pathLst>
                  <a:path w="130738" h="132991">
                    <a:moveTo>
                      <a:pt x="65709" y="0"/>
                    </a:moveTo>
                    <a:cubicBezTo>
                      <a:pt x="86122" y="0"/>
                      <a:pt x="102063" y="5891"/>
                      <a:pt x="113533" y="17673"/>
                    </a:cubicBezTo>
                    <a:cubicBezTo>
                      <a:pt x="125003" y="29455"/>
                      <a:pt x="130738" y="45715"/>
                      <a:pt x="130738" y="66451"/>
                    </a:cubicBezTo>
                    <a:cubicBezTo>
                      <a:pt x="130738" y="87129"/>
                      <a:pt x="124987" y="103389"/>
                      <a:pt x="113485" y="115230"/>
                    </a:cubicBezTo>
                    <a:cubicBezTo>
                      <a:pt x="101982" y="127071"/>
                      <a:pt x="85992" y="132991"/>
                      <a:pt x="65515" y="132991"/>
                    </a:cubicBezTo>
                    <a:cubicBezTo>
                      <a:pt x="44584" y="132991"/>
                      <a:pt x="28432" y="127174"/>
                      <a:pt x="17059" y="115539"/>
                    </a:cubicBezTo>
                    <a:cubicBezTo>
                      <a:pt x="5686" y="103904"/>
                      <a:pt x="0" y="87483"/>
                      <a:pt x="0" y="66275"/>
                    </a:cubicBezTo>
                    <a:cubicBezTo>
                      <a:pt x="0" y="45243"/>
                      <a:pt x="5702" y="28940"/>
                      <a:pt x="17107" y="17364"/>
                    </a:cubicBezTo>
                    <a:cubicBezTo>
                      <a:pt x="28513" y="5788"/>
                      <a:pt x="44713" y="0"/>
                      <a:pt x="65709" y="0"/>
                    </a:cubicBezTo>
                    <a:close/>
                    <a:moveTo>
                      <a:pt x="65709" y="13431"/>
                    </a:moveTo>
                    <a:cubicBezTo>
                      <a:pt x="49962" y="13431"/>
                      <a:pt x="37990" y="17953"/>
                      <a:pt x="29793" y="26996"/>
                    </a:cubicBezTo>
                    <a:cubicBezTo>
                      <a:pt x="21595" y="36038"/>
                      <a:pt x="17496" y="49190"/>
                      <a:pt x="17496" y="66451"/>
                    </a:cubicBezTo>
                    <a:cubicBezTo>
                      <a:pt x="17496" y="83948"/>
                      <a:pt x="21595" y="97218"/>
                      <a:pt x="29793" y="106261"/>
                    </a:cubicBezTo>
                    <a:cubicBezTo>
                      <a:pt x="37990" y="115303"/>
                      <a:pt x="49897" y="119825"/>
                      <a:pt x="65515" y="119825"/>
                    </a:cubicBezTo>
                    <a:cubicBezTo>
                      <a:pt x="81262" y="119825"/>
                      <a:pt x="93153" y="115318"/>
                      <a:pt x="101188" y="106305"/>
                    </a:cubicBezTo>
                    <a:cubicBezTo>
                      <a:pt x="109224" y="97291"/>
                      <a:pt x="113242" y="84007"/>
                      <a:pt x="113242" y="66451"/>
                    </a:cubicBezTo>
                    <a:cubicBezTo>
                      <a:pt x="113242" y="49073"/>
                      <a:pt x="109240" y="35891"/>
                      <a:pt x="101237" y="26907"/>
                    </a:cubicBezTo>
                    <a:cubicBezTo>
                      <a:pt x="93234" y="17923"/>
                      <a:pt x="81391" y="13431"/>
                      <a:pt x="65709" y="13431"/>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36" name="TextBox 35"/>
              <p:cNvSpPr txBox="1">
                <a:spLocks/>
              </p:cNvSpPr>
              <p:nvPr/>
            </p:nvSpPr>
            <p:spPr>
              <a:xfrm>
                <a:off x="11068225" y="850549"/>
                <a:ext cx="36490" cy="59507"/>
              </a:xfrm>
              <a:custGeom>
                <a:avLst/>
                <a:gdLst/>
                <a:ahLst/>
                <a:cxnLst/>
                <a:rect l="l" t="t" r="r" b="b"/>
                <a:pathLst>
                  <a:path w="79221" h="129192">
                    <a:moveTo>
                      <a:pt x="0" y="0"/>
                    </a:moveTo>
                    <a:lnTo>
                      <a:pt x="79221" y="0"/>
                    </a:lnTo>
                    <a:lnTo>
                      <a:pt x="79221" y="13343"/>
                    </a:lnTo>
                    <a:lnTo>
                      <a:pt x="16525" y="13343"/>
                    </a:lnTo>
                    <a:lnTo>
                      <a:pt x="16525" y="60620"/>
                    </a:lnTo>
                    <a:lnTo>
                      <a:pt x="75430" y="60620"/>
                    </a:lnTo>
                    <a:lnTo>
                      <a:pt x="75430" y="73963"/>
                    </a:lnTo>
                    <a:lnTo>
                      <a:pt x="16525" y="73963"/>
                    </a:lnTo>
                    <a:lnTo>
                      <a:pt x="16525"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37" name="TextBox 36"/>
              <p:cNvSpPr txBox="1">
                <a:spLocks/>
              </p:cNvSpPr>
              <p:nvPr/>
            </p:nvSpPr>
            <p:spPr>
              <a:xfrm>
                <a:off x="11121455" y="850549"/>
                <a:ext cx="49071" cy="59507"/>
              </a:xfrm>
              <a:custGeom>
                <a:avLst/>
                <a:gdLst/>
                <a:ahLst/>
                <a:cxnLst/>
                <a:rect l="l" t="t" r="r" b="b"/>
                <a:pathLst>
                  <a:path w="106535" h="129192">
                    <a:moveTo>
                      <a:pt x="0" y="0"/>
                    </a:moveTo>
                    <a:lnTo>
                      <a:pt x="106535" y="0"/>
                    </a:lnTo>
                    <a:lnTo>
                      <a:pt x="106535" y="13343"/>
                    </a:lnTo>
                    <a:lnTo>
                      <a:pt x="61530" y="13343"/>
                    </a:lnTo>
                    <a:lnTo>
                      <a:pt x="61530" y="129192"/>
                    </a:lnTo>
                    <a:lnTo>
                      <a:pt x="45005" y="129192"/>
                    </a:lnTo>
                    <a:lnTo>
                      <a:pt x="45005" y="13343"/>
                    </a:lnTo>
                    <a:lnTo>
                      <a:pt x="0" y="13343"/>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38" name="TextBox 37"/>
              <p:cNvSpPr txBox="1">
                <a:spLocks/>
              </p:cNvSpPr>
              <p:nvPr/>
            </p:nvSpPr>
            <p:spPr>
              <a:xfrm>
                <a:off x="11177909" y="850549"/>
                <a:ext cx="49698" cy="59507"/>
              </a:xfrm>
              <a:custGeom>
                <a:avLst/>
                <a:gdLst/>
                <a:ahLst/>
                <a:cxnLst/>
                <a:rect l="l" t="t" r="r" b="b"/>
                <a:pathLst>
                  <a:path w="107896" h="129192">
                    <a:moveTo>
                      <a:pt x="0" y="0"/>
                    </a:moveTo>
                    <a:lnTo>
                      <a:pt x="16525" y="0"/>
                    </a:lnTo>
                    <a:lnTo>
                      <a:pt x="16525" y="54964"/>
                    </a:lnTo>
                    <a:lnTo>
                      <a:pt x="91371" y="54964"/>
                    </a:lnTo>
                    <a:lnTo>
                      <a:pt x="91371" y="0"/>
                    </a:lnTo>
                    <a:lnTo>
                      <a:pt x="107896" y="0"/>
                    </a:lnTo>
                    <a:lnTo>
                      <a:pt x="107896" y="129192"/>
                    </a:lnTo>
                    <a:lnTo>
                      <a:pt x="91371" y="129192"/>
                    </a:lnTo>
                    <a:lnTo>
                      <a:pt x="91371" y="68396"/>
                    </a:lnTo>
                    <a:lnTo>
                      <a:pt x="16525" y="68396"/>
                    </a:lnTo>
                    <a:lnTo>
                      <a:pt x="16525"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39" name="TextBox 38"/>
              <p:cNvSpPr txBox="1">
                <a:spLocks/>
              </p:cNvSpPr>
              <p:nvPr/>
            </p:nvSpPr>
            <p:spPr>
              <a:xfrm>
                <a:off x="11239332" y="850549"/>
                <a:ext cx="36490" cy="59507"/>
              </a:xfrm>
              <a:custGeom>
                <a:avLst/>
                <a:gdLst/>
                <a:ahLst/>
                <a:cxnLst/>
                <a:rect l="l" t="t" r="r" b="b"/>
                <a:pathLst>
                  <a:path w="79221" h="129192">
                    <a:moveTo>
                      <a:pt x="0" y="0"/>
                    </a:moveTo>
                    <a:lnTo>
                      <a:pt x="79221" y="0"/>
                    </a:lnTo>
                    <a:lnTo>
                      <a:pt x="79221" y="13343"/>
                    </a:lnTo>
                    <a:lnTo>
                      <a:pt x="16525" y="13343"/>
                    </a:lnTo>
                    <a:lnTo>
                      <a:pt x="16525" y="54964"/>
                    </a:lnTo>
                    <a:lnTo>
                      <a:pt x="75430" y="54964"/>
                    </a:lnTo>
                    <a:lnTo>
                      <a:pt x="75430" y="68219"/>
                    </a:lnTo>
                    <a:lnTo>
                      <a:pt x="16525" y="68219"/>
                    </a:lnTo>
                    <a:lnTo>
                      <a:pt x="16525" y="115760"/>
                    </a:lnTo>
                    <a:lnTo>
                      <a:pt x="79221" y="115760"/>
                    </a:lnTo>
                    <a:lnTo>
                      <a:pt x="79221"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grpSp>
        <p:sp>
          <p:nvSpPr>
            <p:cNvPr id="40" name="Freeform 9"/>
            <p:cNvSpPr>
              <a:spLocks noEditPoints="1"/>
            </p:cNvSpPr>
            <p:nvPr/>
          </p:nvSpPr>
          <p:spPr bwMode="auto">
            <a:xfrm>
              <a:off x="10577133" y="371026"/>
              <a:ext cx="1417320" cy="783522"/>
            </a:xfrm>
            <a:custGeom>
              <a:avLst/>
              <a:gdLst>
                <a:gd name="T0" fmla="*/ 279 w 326"/>
                <a:gd name="T1" fmla="*/ 180 h 180"/>
                <a:gd name="T2" fmla="*/ 271 w 326"/>
                <a:gd name="T3" fmla="*/ 179 h 180"/>
                <a:gd name="T4" fmla="*/ 45 w 326"/>
                <a:gd name="T5" fmla="*/ 179 h 180"/>
                <a:gd name="T6" fmla="*/ 6 w 326"/>
                <a:gd name="T7" fmla="*/ 153 h 180"/>
                <a:gd name="T8" fmla="*/ 0 w 326"/>
                <a:gd name="T9" fmla="*/ 129 h 180"/>
                <a:gd name="T10" fmla="*/ 32 w 326"/>
                <a:gd name="T11" fmla="*/ 82 h 180"/>
                <a:gd name="T12" fmla="*/ 30 w 326"/>
                <a:gd name="T13" fmla="*/ 70 h 180"/>
                <a:gd name="T14" fmla="*/ 100 w 326"/>
                <a:gd name="T15" fmla="*/ 0 h 180"/>
                <a:gd name="T16" fmla="*/ 154 w 326"/>
                <a:gd name="T17" fmla="*/ 26 h 180"/>
                <a:gd name="T18" fmla="*/ 187 w 326"/>
                <a:gd name="T19" fmla="*/ 16 h 180"/>
                <a:gd name="T20" fmla="*/ 242 w 326"/>
                <a:gd name="T21" fmla="*/ 55 h 180"/>
                <a:gd name="T22" fmla="*/ 245 w 326"/>
                <a:gd name="T23" fmla="*/ 54 h 180"/>
                <a:gd name="T24" fmla="*/ 280 w 326"/>
                <a:gd name="T25" fmla="*/ 85 h 180"/>
                <a:gd name="T26" fmla="*/ 326 w 326"/>
                <a:gd name="T27" fmla="*/ 132 h 180"/>
                <a:gd name="T28" fmla="*/ 279 w 326"/>
                <a:gd name="T29" fmla="*/ 180 h 180"/>
                <a:gd name="T30" fmla="*/ 100 w 326"/>
                <a:gd name="T31" fmla="*/ 4 h 180"/>
                <a:gd name="T32" fmla="*/ 34 w 326"/>
                <a:gd name="T33" fmla="*/ 70 h 180"/>
                <a:gd name="T34" fmla="*/ 36 w 326"/>
                <a:gd name="T35" fmla="*/ 83 h 180"/>
                <a:gd name="T36" fmla="*/ 36 w 326"/>
                <a:gd name="T37" fmla="*/ 85 h 180"/>
                <a:gd name="T38" fmla="*/ 35 w 326"/>
                <a:gd name="T39" fmla="*/ 86 h 180"/>
                <a:gd name="T40" fmla="*/ 4 w 326"/>
                <a:gd name="T41" fmla="*/ 129 h 180"/>
                <a:gd name="T42" fmla="*/ 10 w 326"/>
                <a:gd name="T43" fmla="*/ 151 h 180"/>
                <a:gd name="T44" fmla="*/ 10 w 326"/>
                <a:gd name="T45" fmla="*/ 151 h 180"/>
                <a:gd name="T46" fmla="*/ 45 w 326"/>
                <a:gd name="T47" fmla="*/ 175 h 180"/>
                <a:gd name="T48" fmla="*/ 271 w 326"/>
                <a:gd name="T49" fmla="*/ 175 h 180"/>
                <a:gd name="T50" fmla="*/ 272 w 326"/>
                <a:gd name="T51" fmla="*/ 175 h 180"/>
                <a:gd name="T52" fmla="*/ 279 w 326"/>
                <a:gd name="T53" fmla="*/ 176 h 180"/>
                <a:gd name="T54" fmla="*/ 322 w 326"/>
                <a:gd name="T55" fmla="*/ 132 h 180"/>
                <a:gd name="T56" fmla="*/ 279 w 326"/>
                <a:gd name="T57" fmla="*/ 89 h 180"/>
                <a:gd name="T58" fmla="*/ 278 w 326"/>
                <a:gd name="T59" fmla="*/ 89 h 180"/>
                <a:gd name="T60" fmla="*/ 276 w 326"/>
                <a:gd name="T61" fmla="*/ 89 h 180"/>
                <a:gd name="T62" fmla="*/ 276 w 326"/>
                <a:gd name="T63" fmla="*/ 87 h 180"/>
                <a:gd name="T64" fmla="*/ 245 w 326"/>
                <a:gd name="T65" fmla="*/ 58 h 180"/>
                <a:gd name="T66" fmla="*/ 240 w 326"/>
                <a:gd name="T67" fmla="*/ 59 h 180"/>
                <a:gd name="T68" fmla="*/ 239 w 326"/>
                <a:gd name="T69" fmla="*/ 59 h 180"/>
                <a:gd name="T70" fmla="*/ 238 w 326"/>
                <a:gd name="T71" fmla="*/ 57 h 180"/>
                <a:gd name="T72" fmla="*/ 187 w 326"/>
                <a:gd name="T73" fmla="*/ 20 h 180"/>
                <a:gd name="T74" fmla="*/ 155 w 326"/>
                <a:gd name="T75" fmla="*/ 30 h 180"/>
                <a:gd name="T76" fmla="*/ 153 w 326"/>
                <a:gd name="T77" fmla="*/ 31 h 180"/>
                <a:gd name="T78" fmla="*/ 152 w 326"/>
                <a:gd name="T79" fmla="*/ 30 h 180"/>
                <a:gd name="T80" fmla="*/ 100 w 326"/>
                <a:gd name="T8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6" h="180">
                  <a:moveTo>
                    <a:pt x="279" y="180"/>
                  </a:moveTo>
                  <a:cubicBezTo>
                    <a:pt x="276" y="180"/>
                    <a:pt x="274" y="179"/>
                    <a:pt x="271" y="179"/>
                  </a:cubicBezTo>
                  <a:cubicBezTo>
                    <a:pt x="45" y="179"/>
                    <a:pt x="45" y="179"/>
                    <a:pt x="45" y="179"/>
                  </a:cubicBezTo>
                  <a:cubicBezTo>
                    <a:pt x="28" y="179"/>
                    <a:pt x="13" y="169"/>
                    <a:pt x="6" y="153"/>
                  </a:cubicBezTo>
                  <a:cubicBezTo>
                    <a:pt x="2" y="146"/>
                    <a:pt x="0" y="137"/>
                    <a:pt x="0" y="129"/>
                  </a:cubicBezTo>
                  <a:cubicBezTo>
                    <a:pt x="0" y="109"/>
                    <a:pt x="13" y="90"/>
                    <a:pt x="32" y="82"/>
                  </a:cubicBezTo>
                  <a:cubicBezTo>
                    <a:pt x="31" y="78"/>
                    <a:pt x="30" y="74"/>
                    <a:pt x="30" y="70"/>
                  </a:cubicBezTo>
                  <a:cubicBezTo>
                    <a:pt x="30" y="32"/>
                    <a:pt x="62" y="0"/>
                    <a:pt x="100" y="0"/>
                  </a:cubicBezTo>
                  <a:cubicBezTo>
                    <a:pt x="121" y="0"/>
                    <a:pt x="141" y="10"/>
                    <a:pt x="154" y="26"/>
                  </a:cubicBezTo>
                  <a:cubicBezTo>
                    <a:pt x="164" y="19"/>
                    <a:pt x="175" y="16"/>
                    <a:pt x="187" y="16"/>
                  </a:cubicBezTo>
                  <a:cubicBezTo>
                    <a:pt x="212" y="16"/>
                    <a:pt x="233" y="31"/>
                    <a:pt x="242" y="55"/>
                  </a:cubicBezTo>
                  <a:cubicBezTo>
                    <a:pt x="243" y="54"/>
                    <a:pt x="244" y="54"/>
                    <a:pt x="245" y="54"/>
                  </a:cubicBezTo>
                  <a:cubicBezTo>
                    <a:pt x="263" y="54"/>
                    <a:pt x="278" y="68"/>
                    <a:pt x="280" y="85"/>
                  </a:cubicBezTo>
                  <a:cubicBezTo>
                    <a:pt x="305" y="86"/>
                    <a:pt x="326" y="107"/>
                    <a:pt x="326" y="132"/>
                  </a:cubicBezTo>
                  <a:cubicBezTo>
                    <a:pt x="326" y="158"/>
                    <a:pt x="305" y="180"/>
                    <a:pt x="279" y="180"/>
                  </a:cubicBezTo>
                  <a:close/>
                  <a:moveTo>
                    <a:pt x="100" y="4"/>
                  </a:moveTo>
                  <a:cubicBezTo>
                    <a:pt x="64" y="4"/>
                    <a:pt x="34" y="34"/>
                    <a:pt x="34" y="70"/>
                  </a:cubicBezTo>
                  <a:cubicBezTo>
                    <a:pt x="34" y="75"/>
                    <a:pt x="35" y="79"/>
                    <a:pt x="36" y="83"/>
                  </a:cubicBezTo>
                  <a:cubicBezTo>
                    <a:pt x="36" y="85"/>
                    <a:pt x="36" y="85"/>
                    <a:pt x="36" y="85"/>
                  </a:cubicBezTo>
                  <a:cubicBezTo>
                    <a:pt x="35" y="86"/>
                    <a:pt x="35" y="86"/>
                    <a:pt x="35" y="86"/>
                  </a:cubicBezTo>
                  <a:cubicBezTo>
                    <a:pt x="16" y="92"/>
                    <a:pt x="4" y="110"/>
                    <a:pt x="4" y="129"/>
                  </a:cubicBezTo>
                  <a:cubicBezTo>
                    <a:pt x="4" y="137"/>
                    <a:pt x="6" y="144"/>
                    <a:pt x="10" y="151"/>
                  </a:cubicBezTo>
                  <a:cubicBezTo>
                    <a:pt x="10" y="151"/>
                    <a:pt x="10" y="151"/>
                    <a:pt x="10" y="151"/>
                  </a:cubicBezTo>
                  <a:cubicBezTo>
                    <a:pt x="16" y="166"/>
                    <a:pt x="30" y="175"/>
                    <a:pt x="45" y="175"/>
                  </a:cubicBezTo>
                  <a:cubicBezTo>
                    <a:pt x="271" y="175"/>
                    <a:pt x="271" y="175"/>
                    <a:pt x="271" y="175"/>
                  </a:cubicBezTo>
                  <a:cubicBezTo>
                    <a:pt x="272" y="175"/>
                    <a:pt x="272" y="175"/>
                    <a:pt x="272" y="175"/>
                  </a:cubicBezTo>
                  <a:cubicBezTo>
                    <a:pt x="274" y="175"/>
                    <a:pt x="276" y="176"/>
                    <a:pt x="279" y="176"/>
                  </a:cubicBezTo>
                  <a:cubicBezTo>
                    <a:pt x="303" y="176"/>
                    <a:pt x="322" y="156"/>
                    <a:pt x="322" y="132"/>
                  </a:cubicBezTo>
                  <a:cubicBezTo>
                    <a:pt x="322" y="109"/>
                    <a:pt x="303" y="89"/>
                    <a:pt x="279" y="89"/>
                  </a:cubicBezTo>
                  <a:cubicBezTo>
                    <a:pt x="279" y="89"/>
                    <a:pt x="278" y="89"/>
                    <a:pt x="278" y="89"/>
                  </a:cubicBezTo>
                  <a:cubicBezTo>
                    <a:pt x="276" y="89"/>
                    <a:pt x="276" y="89"/>
                    <a:pt x="276" y="89"/>
                  </a:cubicBezTo>
                  <a:cubicBezTo>
                    <a:pt x="276" y="87"/>
                    <a:pt x="276" y="87"/>
                    <a:pt x="276" y="87"/>
                  </a:cubicBezTo>
                  <a:cubicBezTo>
                    <a:pt x="275" y="71"/>
                    <a:pt x="261" y="58"/>
                    <a:pt x="245" y="58"/>
                  </a:cubicBezTo>
                  <a:cubicBezTo>
                    <a:pt x="243" y="58"/>
                    <a:pt x="242" y="59"/>
                    <a:pt x="240" y="59"/>
                  </a:cubicBezTo>
                  <a:cubicBezTo>
                    <a:pt x="239" y="59"/>
                    <a:pt x="239" y="59"/>
                    <a:pt x="239" y="59"/>
                  </a:cubicBezTo>
                  <a:cubicBezTo>
                    <a:pt x="238" y="57"/>
                    <a:pt x="238" y="57"/>
                    <a:pt x="238" y="57"/>
                  </a:cubicBezTo>
                  <a:cubicBezTo>
                    <a:pt x="231" y="35"/>
                    <a:pt x="210" y="20"/>
                    <a:pt x="187" y="20"/>
                  </a:cubicBezTo>
                  <a:cubicBezTo>
                    <a:pt x="175" y="20"/>
                    <a:pt x="164" y="23"/>
                    <a:pt x="155" y="30"/>
                  </a:cubicBezTo>
                  <a:cubicBezTo>
                    <a:pt x="153" y="31"/>
                    <a:pt x="153" y="31"/>
                    <a:pt x="153" y="31"/>
                  </a:cubicBezTo>
                  <a:cubicBezTo>
                    <a:pt x="152" y="30"/>
                    <a:pt x="152" y="30"/>
                    <a:pt x="152" y="30"/>
                  </a:cubicBezTo>
                  <a:cubicBezTo>
                    <a:pt x="139" y="14"/>
                    <a:pt x="121" y="4"/>
                    <a:pt x="100" y="4"/>
                  </a:cubicBezTo>
                  <a:close/>
                </a:path>
              </a:pathLst>
            </a:custGeom>
            <a:solidFill>
              <a:srgbClr val="34697F"/>
            </a:solidFill>
            <a:ln>
              <a:noFill/>
            </a:ln>
            <a:extLst/>
          </p:spPr>
          <p:txBody>
            <a:bodyPr vert="horz" wrap="square" lIns="91440" tIns="45720" rIns="91440" bIns="45720" numCol="1" anchor="t" anchorCtr="0" compatLnSpc="1">
              <a:prstTxWarp prst="textNoShape">
                <a:avLst/>
              </a:prstTxWarp>
            </a:bodyPr>
            <a:lstStyle/>
            <a:p>
              <a:endParaRPr lang="en-US" sz="1800">
                <a:latin typeface="Arial" panose="020B0604020202020204" pitchFamily="34" charset="0"/>
                <a:cs typeface="Arial" panose="020B0604020202020204" pitchFamily="34" charset="0"/>
                <a:sym typeface="Arial" panose="020B0604020202020204" pitchFamily="34" charset="0"/>
              </a:endParaRPr>
            </a:p>
          </p:txBody>
        </p:sp>
      </p:grpSp>
      <p:sp>
        <p:nvSpPr>
          <p:cNvPr id="42" name="Title 1"/>
          <p:cNvSpPr>
            <a:spLocks noGrp="1"/>
          </p:cNvSpPr>
          <p:nvPr>
            <p:ph type="title" hasCustomPrompt="1"/>
          </p:nvPr>
        </p:nvSpPr>
        <p:spPr>
          <a:xfrm>
            <a:off x="457200" y="296379"/>
            <a:ext cx="9688623" cy="476805"/>
          </a:xfrm>
          <a:prstGeom prst="rect">
            <a:avLst/>
          </a:prstGeom>
        </p:spPr>
        <p:txBody>
          <a:bodyPr tIns="0" bIns="0" anchor="t" anchorCtr="0"/>
          <a:lstStyle>
            <a:lvl1pPr algn="l">
              <a:defRPr sz="3000" b="1">
                <a:solidFill>
                  <a:schemeClr val="bg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stStyle>
          <a:p>
            <a:r>
              <a:rPr lang="en-US" dirty="0"/>
              <a:t>Title</a:t>
            </a:r>
          </a:p>
        </p:txBody>
      </p:sp>
      <p:sp>
        <p:nvSpPr>
          <p:cNvPr id="43" name="Text Placeholder 9"/>
          <p:cNvSpPr>
            <a:spLocks noGrp="1"/>
          </p:cNvSpPr>
          <p:nvPr>
            <p:ph type="body" sz="quarter" idx="11" hasCustomPrompt="1"/>
          </p:nvPr>
        </p:nvSpPr>
        <p:spPr>
          <a:xfrm>
            <a:off x="457200" y="860151"/>
            <a:ext cx="9688622" cy="423094"/>
          </a:xfrm>
          <a:prstGeom prst="rect">
            <a:avLst/>
          </a:prstGeom>
        </p:spPr>
        <p:txBody>
          <a:bodyPr anchor="ctr"/>
          <a:lstStyle>
            <a:lvl1pPr algn="l">
              <a:lnSpc>
                <a:spcPct val="90000"/>
              </a:lnSpc>
              <a:spcBef>
                <a:spcPts val="0"/>
              </a:spcBef>
              <a:defRPr sz="200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pPr lvl="0"/>
            <a:r>
              <a:rPr lang="en-US" dirty="0"/>
              <a:t>Subtitle</a:t>
            </a:r>
          </a:p>
        </p:txBody>
      </p:sp>
      <p:sp>
        <p:nvSpPr>
          <p:cNvPr id="41" name="Text Placeholder 4"/>
          <p:cNvSpPr>
            <a:spLocks noGrp="1"/>
          </p:cNvSpPr>
          <p:nvPr>
            <p:ph type="body" sz="quarter" idx="12" hasCustomPrompt="1"/>
          </p:nvPr>
        </p:nvSpPr>
        <p:spPr>
          <a:xfrm>
            <a:off x="3178629" y="2011681"/>
            <a:ext cx="8551409" cy="4174372"/>
          </a:xfrm>
          <a:prstGeom prst="rect">
            <a:avLst/>
          </a:prstGeo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lvl="0"/>
            <a:r>
              <a:rPr lang="en-US" dirty="0"/>
              <a:t>Body text</a:t>
            </a:r>
          </a:p>
        </p:txBody>
      </p:sp>
      <p:sp>
        <p:nvSpPr>
          <p:cNvPr id="44" name="Content Placeholder 8"/>
          <p:cNvSpPr txBox="1">
            <a:spLocks/>
          </p:cNvSpPr>
          <p:nvPr userDrawn="1"/>
        </p:nvSpPr>
        <p:spPr>
          <a:xfrm>
            <a:off x="547922" y="6418626"/>
            <a:ext cx="2383745"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r>
              <a:rPr lang="en-US" sz="800" dirty="0">
                <a:solidFill>
                  <a:schemeClr val="tx2">
                    <a:lumMod val="40000"/>
                    <a:lumOff val="60000"/>
                  </a:schemeClr>
                </a:solidFill>
                <a:latin typeface="Arial" panose="020B0604020202020204" pitchFamily="34" charset="0"/>
                <a:cs typeface="Arial" panose="020B0604020202020204" pitchFamily="34" charset="0"/>
                <a:sym typeface="Arial" panose="020B0604020202020204" pitchFamily="34" charset="0"/>
              </a:rPr>
              <a:t>©2018</a:t>
            </a:r>
          </a:p>
        </p:txBody>
      </p:sp>
    </p:spTree>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nternal Slide - Photo Lef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4323424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4" name="think-cell Slide" r:id="rId4" imgW="498" imgH="499" progId="TCLayout.ActiveDocument.1">
                  <p:embed/>
                </p:oleObj>
              </mc:Choice>
              <mc:Fallback>
                <p:oleObj name="think-cell Slide" r:id="rId4" imgW="498" imgH="499"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2" name="Picture Placeholder 5"/>
          <p:cNvSpPr>
            <a:spLocks noGrp="1"/>
          </p:cNvSpPr>
          <p:nvPr>
            <p:ph type="pic" sz="quarter" idx="13" hasCustomPrompt="1"/>
          </p:nvPr>
        </p:nvSpPr>
        <p:spPr>
          <a:xfrm>
            <a:off x="1" y="1554480"/>
            <a:ext cx="3291840" cy="5303519"/>
          </a:xfrm>
          <a:prstGeom prst="rect">
            <a:avLst/>
          </a:prstGeom>
          <a:solidFill>
            <a:schemeClr val="bg2"/>
          </a:solidFill>
        </p:spPr>
        <p:txBody>
          <a:bodyPr anchor="ctr"/>
          <a:lstStyle>
            <a:lvl1pPr algn="ctr">
              <a:defRPr sz="3200">
                <a:solidFill>
                  <a:schemeClr val="bg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stStyle>
          <a:p>
            <a:r>
              <a:rPr lang="en-US" dirty="0"/>
              <a:t>IMAGE</a:t>
            </a:r>
          </a:p>
        </p:txBody>
      </p:sp>
      <p:sp>
        <p:nvSpPr>
          <p:cNvPr id="55" name="Rectangle 54"/>
          <p:cNvSpPr/>
          <p:nvPr/>
        </p:nvSpPr>
        <p:spPr>
          <a:xfrm>
            <a:off x="0" y="1"/>
            <a:ext cx="12191996" cy="1554480"/>
          </a:xfrm>
          <a:prstGeom prst="rect">
            <a:avLst/>
          </a:prstGeom>
          <a:solidFill>
            <a:srgbClr val="064E69"/>
          </a:solidFill>
        </p:spPr>
        <p:txBody>
          <a:bodyPr wrap="square" lIns="548640" tIns="0" rIns="91440" bIns="0" anchor="ctr">
            <a:noAutofit/>
          </a:bodyPr>
          <a:lstStyle/>
          <a:p>
            <a:endParaRPr lang="en-US" sz="4000" b="1" dirty="0">
              <a:solidFill>
                <a:schemeClr val="bg1"/>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56" name="Rectangle 55"/>
          <p:cNvSpPr/>
          <p:nvPr/>
        </p:nvSpPr>
        <p:spPr>
          <a:xfrm>
            <a:off x="-1" y="1448246"/>
            <a:ext cx="12192127" cy="106731"/>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1" dirty="0">
              <a:latin typeface="Arial" panose="020B0604020202020204" pitchFamily="34" charset="0"/>
              <a:cs typeface="Arial" panose="020B0604020202020204" pitchFamily="34" charset="0"/>
              <a:sym typeface="Arial" panose="020B0604020202020204" pitchFamily="34" charset="0"/>
            </a:endParaRPr>
          </a:p>
        </p:txBody>
      </p:sp>
      <p:sp>
        <p:nvSpPr>
          <p:cNvPr id="57" name="Title 1"/>
          <p:cNvSpPr>
            <a:spLocks noGrp="1"/>
          </p:cNvSpPr>
          <p:nvPr>
            <p:ph type="title" hasCustomPrompt="1"/>
          </p:nvPr>
        </p:nvSpPr>
        <p:spPr>
          <a:xfrm>
            <a:off x="457200" y="296379"/>
            <a:ext cx="9688623" cy="476805"/>
          </a:xfrm>
          <a:prstGeom prst="rect">
            <a:avLst/>
          </a:prstGeom>
        </p:spPr>
        <p:txBody>
          <a:bodyPr tIns="0" bIns="0" anchor="t" anchorCtr="0"/>
          <a:lstStyle>
            <a:lvl1pPr algn="l">
              <a:defRPr sz="3000" b="1">
                <a:solidFill>
                  <a:schemeClr val="bg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stStyle>
          <a:p>
            <a:r>
              <a:rPr lang="en-US" dirty="0"/>
              <a:t>Title</a:t>
            </a:r>
          </a:p>
        </p:txBody>
      </p:sp>
      <p:sp>
        <p:nvSpPr>
          <p:cNvPr id="58" name="Text Placeholder 9"/>
          <p:cNvSpPr>
            <a:spLocks noGrp="1"/>
          </p:cNvSpPr>
          <p:nvPr>
            <p:ph type="body" sz="quarter" idx="11" hasCustomPrompt="1"/>
          </p:nvPr>
        </p:nvSpPr>
        <p:spPr>
          <a:xfrm>
            <a:off x="457200" y="860151"/>
            <a:ext cx="9688622" cy="423094"/>
          </a:xfrm>
          <a:prstGeom prst="rect">
            <a:avLst/>
          </a:prstGeom>
        </p:spPr>
        <p:txBody>
          <a:bodyPr anchor="ctr"/>
          <a:lstStyle>
            <a:lvl1pPr algn="l">
              <a:lnSpc>
                <a:spcPct val="90000"/>
              </a:lnSpc>
              <a:spcBef>
                <a:spcPts val="0"/>
              </a:spcBef>
              <a:defRPr sz="200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pPr lvl="0"/>
            <a:r>
              <a:rPr lang="en-US" dirty="0"/>
              <a:t>Subtitle</a:t>
            </a:r>
          </a:p>
        </p:txBody>
      </p:sp>
      <p:cxnSp>
        <p:nvCxnSpPr>
          <p:cNvPr id="59" name="Straight Connector 58"/>
          <p:cNvCxnSpPr/>
          <p:nvPr/>
        </p:nvCxnSpPr>
        <p:spPr>
          <a:xfrm>
            <a:off x="10363874" y="222724"/>
            <a:ext cx="0" cy="1032988"/>
          </a:xfrm>
          <a:prstGeom prst="line">
            <a:avLst/>
          </a:prstGeom>
          <a:ln w="15875" cmpd="sng">
            <a:solidFill>
              <a:schemeClr val="accent2">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63" name="TextBox 62"/>
          <p:cNvSpPr txBox="1">
            <a:spLocks/>
          </p:cNvSpPr>
          <p:nvPr/>
        </p:nvSpPr>
        <p:spPr>
          <a:xfrm>
            <a:off x="11008872" y="633221"/>
            <a:ext cx="224212" cy="176024"/>
          </a:xfrm>
          <a:custGeom>
            <a:avLst/>
            <a:gdLst/>
            <a:ahLst/>
            <a:cxnLst/>
            <a:rect l="l" t="t" r="r" b="b"/>
            <a:pathLst>
              <a:path w="486642" h="382152">
                <a:moveTo>
                  <a:pt x="150943" y="0"/>
                </a:moveTo>
                <a:cubicBezTo>
                  <a:pt x="191582" y="0"/>
                  <a:pt x="224490" y="12368"/>
                  <a:pt x="232082" y="39810"/>
                </a:cubicBezTo>
                <a:lnTo>
                  <a:pt x="232262" y="41192"/>
                </a:lnTo>
                <a:lnTo>
                  <a:pt x="244394" y="27828"/>
                </a:lnTo>
                <a:cubicBezTo>
                  <a:pt x="265912" y="9086"/>
                  <a:pt x="296328" y="0"/>
                  <a:pt x="331918" y="0"/>
                </a:cubicBezTo>
                <a:cubicBezTo>
                  <a:pt x="355140" y="0"/>
                  <a:pt x="375838" y="4038"/>
                  <a:pt x="390730" y="12620"/>
                </a:cubicBezTo>
                <a:lnTo>
                  <a:pt x="399550" y="19037"/>
                </a:lnTo>
                <a:lnTo>
                  <a:pt x="415123" y="9213"/>
                </a:lnTo>
                <a:cubicBezTo>
                  <a:pt x="421204" y="6846"/>
                  <a:pt x="427956" y="5553"/>
                  <a:pt x="435150" y="5553"/>
                </a:cubicBezTo>
                <a:cubicBezTo>
                  <a:pt x="464430" y="5553"/>
                  <a:pt x="486642" y="26250"/>
                  <a:pt x="486642" y="53511"/>
                </a:cubicBezTo>
                <a:cubicBezTo>
                  <a:pt x="486642" y="80772"/>
                  <a:pt x="464430" y="101974"/>
                  <a:pt x="435150" y="101974"/>
                </a:cubicBezTo>
                <a:cubicBezTo>
                  <a:pt x="420763" y="101974"/>
                  <a:pt x="408142" y="96674"/>
                  <a:pt x="399118" y="87965"/>
                </a:cubicBezTo>
                <a:lnTo>
                  <a:pt x="397141" y="85099"/>
                </a:lnTo>
                <a:lnTo>
                  <a:pt x="387023" y="90979"/>
                </a:lnTo>
                <a:cubicBezTo>
                  <a:pt x="381675" y="92887"/>
                  <a:pt x="375838" y="93897"/>
                  <a:pt x="369780" y="93897"/>
                </a:cubicBezTo>
                <a:cubicBezTo>
                  <a:pt x="355140" y="93897"/>
                  <a:pt x="342015" y="89354"/>
                  <a:pt x="335452" y="81781"/>
                </a:cubicBezTo>
                <a:cubicBezTo>
                  <a:pt x="350092" y="78247"/>
                  <a:pt x="359179" y="66132"/>
                  <a:pt x="359179" y="42910"/>
                </a:cubicBezTo>
                <a:cubicBezTo>
                  <a:pt x="359179" y="22717"/>
                  <a:pt x="350597" y="8077"/>
                  <a:pt x="331918" y="8077"/>
                </a:cubicBezTo>
                <a:cubicBezTo>
                  <a:pt x="308696" y="8077"/>
                  <a:pt x="300619" y="29784"/>
                  <a:pt x="300619" y="58054"/>
                </a:cubicBezTo>
                <a:lnTo>
                  <a:pt x="300619" y="132264"/>
                </a:lnTo>
                <a:lnTo>
                  <a:pt x="363217" y="132264"/>
                </a:lnTo>
                <a:lnTo>
                  <a:pt x="360693" y="144884"/>
                </a:lnTo>
                <a:lnTo>
                  <a:pt x="300619" y="144884"/>
                </a:lnTo>
                <a:lnTo>
                  <a:pt x="300619" y="327126"/>
                </a:lnTo>
                <a:cubicBezTo>
                  <a:pt x="300619" y="360445"/>
                  <a:pt x="312230" y="369027"/>
                  <a:pt x="339490" y="381142"/>
                </a:cubicBezTo>
                <a:lnTo>
                  <a:pt x="339490" y="382152"/>
                </a:lnTo>
                <a:lnTo>
                  <a:pt x="186529" y="382152"/>
                </a:lnTo>
                <a:lnTo>
                  <a:pt x="186529" y="381142"/>
                </a:lnTo>
                <a:cubicBezTo>
                  <a:pt x="208741" y="367007"/>
                  <a:pt x="210255" y="360445"/>
                  <a:pt x="210255" y="327126"/>
                </a:cubicBezTo>
                <a:lnTo>
                  <a:pt x="210255" y="144884"/>
                </a:lnTo>
                <a:lnTo>
                  <a:pt x="180976" y="144884"/>
                </a:lnTo>
                <a:lnTo>
                  <a:pt x="180976" y="139331"/>
                </a:lnTo>
                <a:lnTo>
                  <a:pt x="210255" y="128225"/>
                </a:lnTo>
                <a:lnTo>
                  <a:pt x="210255" y="113585"/>
                </a:lnTo>
                <a:lnTo>
                  <a:pt x="212504" y="87227"/>
                </a:lnTo>
                <a:lnTo>
                  <a:pt x="206048" y="90979"/>
                </a:lnTo>
                <a:cubicBezTo>
                  <a:pt x="200700" y="92887"/>
                  <a:pt x="194863" y="93897"/>
                  <a:pt x="188805" y="93897"/>
                </a:cubicBezTo>
                <a:cubicBezTo>
                  <a:pt x="174165" y="93897"/>
                  <a:pt x="161040" y="89354"/>
                  <a:pt x="154477" y="81781"/>
                </a:cubicBezTo>
                <a:cubicBezTo>
                  <a:pt x="169117" y="78247"/>
                  <a:pt x="178204" y="66132"/>
                  <a:pt x="178204" y="42910"/>
                </a:cubicBezTo>
                <a:cubicBezTo>
                  <a:pt x="178204" y="22717"/>
                  <a:pt x="169622" y="8077"/>
                  <a:pt x="150943" y="8077"/>
                </a:cubicBezTo>
                <a:cubicBezTo>
                  <a:pt x="127721" y="8077"/>
                  <a:pt x="119644" y="29784"/>
                  <a:pt x="119644" y="58054"/>
                </a:cubicBezTo>
                <a:lnTo>
                  <a:pt x="119644" y="132264"/>
                </a:lnTo>
                <a:lnTo>
                  <a:pt x="182242" y="132264"/>
                </a:lnTo>
                <a:lnTo>
                  <a:pt x="179718" y="144884"/>
                </a:lnTo>
                <a:lnTo>
                  <a:pt x="119644" y="144884"/>
                </a:lnTo>
                <a:lnTo>
                  <a:pt x="119644" y="327126"/>
                </a:lnTo>
                <a:cubicBezTo>
                  <a:pt x="119644" y="360445"/>
                  <a:pt x="131255" y="369027"/>
                  <a:pt x="158516" y="381142"/>
                </a:cubicBezTo>
                <a:lnTo>
                  <a:pt x="158516" y="382152"/>
                </a:lnTo>
                <a:lnTo>
                  <a:pt x="5554" y="382152"/>
                </a:lnTo>
                <a:lnTo>
                  <a:pt x="5554" y="381142"/>
                </a:lnTo>
                <a:cubicBezTo>
                  <a:pt x="27766" y="367007"/>
                  <a:pt x="29280" y="360445"/>
                  <a:pt x="29280" y="327126"/>
                </a:cubicBezTo>
                <a:lnTo>
                  <a:pt x="29280" y="144884"/>
                </a:lnTo>
                <a:lnTo>
                  <a:pt x="0" y="144884"/>
                </a:lnTo>
                <a:lnTo>
                  <a:pt x="0" y="139331"/>
                </a:lnTo>
                <a:lnTo>
                  <a:pt x="29280" y="128225"/>
                </a:lnTo>
                <a:lnTo>
                  <a:pt x="29280" y="113585"/>
                </a:lnTo>
                <a:cubicBezTo>
                  <a:pt x="29280" y="36347"/>
                  <a:pt x="79763" y="0"/>
                  <a:pt x="15094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4" name="TextBox 63"/>
          <p:cNvSpPr txBox="1">
            <a:spLocks/>
          </p:cNvSpPr>
          <p:nvPr/>
        </p:nvSpPr>
        <p:spPr>
          <a:xfrm>
            <a:off x="10828278" y="644150"/>
            <a:ext cx="167232" cy="16742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5" name="TextBox 64"/>
          <p:cNvSpPr txBox="1">
            <a:spLocks/>
          </p:cNvSpPr>
          <p:nvPr/>
        </p:nvSpPr>
        <p:spPr>
          <a:xfrm>
            <a:off x="11252333" y="691818"/>
            <a:ext cx="113038" cy="119752"/>
          </a:xfrm>
          <a:custGeom>
            <a:avLst/>
            <a:gdLst/>
            <a:ahLst/>
            <a:cxnLst/>
            <a:rect l="l" t="t" r="r" b="b"/>
            <a:pathLst>
              <a:path w="245345" h="259984">
                <a:moveTo>
                  <a:pt x="144885" y="0"/>
                </a:moveTo>
                <a:cubicBezTo>
                  <a:pt x="199406" y="0"/>
                  <a:pt x="240297" y="23726"/>
                  <a:pt x="240297" y="65122"/>
                </a:cubicBezTo>
                <a:cubicBezTo>
                  <a:pt x="240297" y="95411"/>
                  <a:pt x="217075" y="111061"/>
                  <a:pt x="192843" y="111061"/>
                </a:cubicBezTo>
                <a:cubicBezTo>
                  <a:pt x="166087" y="111061"/>
                  <a:pt x="150438" y="96421"/>
                  <a:pt x="148923" y="81781"/>
                </a:cubicBezTo>
                <a:cubicBezTo>
                  <a:pt x="151952" y="82791"/>
                  <a:pt x="155486" y="83296"/>
                  <a:pt x="158010" y="83296"/>
                </a:cubicBezTo>
                <a:cubicBezTo>
                  <a:pt x="176689" y="83296"/>
                  <a:pt x="184261" y="67646"/>
                  <a:pt x="184261" y="48463"/>
                </a:cubicBezTo>
                <a:cubicBezTo>
                  <a:pt x="184261" y="24231"/>
                  <a:pt x="171136" y="8582"/>
                  <a:pt x="145894" y="8582"/>
                </a:cubicBezTo>
                <a:cubicBezTo>
                  <a:pt x="110557" y="8582"/>
                  <a:pt x="93897" y="54016"/>
                  <a:pt x="93897" y="112575"/>
                </a:cubicBezTo>
                <a:cubicBezTo>
                  <a:pt x="93897" y="181737"/>
                  <a:pt x="124692" y="218589"/>
                  <a:pt x="171640" y="218589"/>
                </a:cubicBezTo>
                <a:cubicBezTo>
                  <a:pt x="200415" y="218589"/>
                  <a:pt x="226666" y="204958"/>
                  <a:pt x="242316" y="173659"/>
                </a:cubicBezTo>
                <a:lnTo>
                  <a:pt x="245345" y="175174"/>
                </a:lnTo>
                <a:cubicBezTo>
                  <a:pt x="231210" y="229190"/>
                  <a:pt x="185775" y="259984"/>
                  <a:pt x="129740" y="259984"/>
                </a:cubicBezTo>
                <a:cubicBezTo>
                  <a:pt x="60074" y="259984"/>
                  <a:pt x="0" y="213036"/>
                  <a:pt x="0" y="134788"/>
                </a:cubicBezTo>
                <a:cubicBezTo>
                  <a:pt x="0" y="49977"/>
                  <a:pt x="63608" y="0"/>
                  <a:pt x="144885"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6" name="TextBox 65"/>
          <p:cNvSpPr txBox="1">
            <a:spLocks/>
          </p:cNvSpPr>
          <p:nvPr/>
        </p:nvSpPr>
        <p:spPr>
          <a:xfrm>
            <a:off x="11375209" y="691818"/>
            <a:ext cx="116062" cy="119752"/>
          </a:xfrm>
          <a:custGeom>
            <a:avLst/>
            <a:gdLst/>
            <a:ahLst/>
            <a:cxnLst/>
            <a:rect l="l" t="t" r="r" b="b"/>
            <a:pathLst>
              <a:path w="251908" h="259984">
                <a:moveTo>
                  <a:pt x="132264" y="0"/>
                </a:moveTo>
                <a:cubicBezTo>
                  <a:pt x="213541" y="0"/>
                  <a:pt x="251908" y="51996"/>
                  <a:pt x="251908" y="118633"/>
                </a:cubicBezTo>
                <a:lnTo>
                  <a:pt x="91373" y="118633"/>
                </a:lnTo>
                <a:cubicBezTo>
                  <a:pt x="91373" y="181232"/>
                  <a:pt x="124187" y="218589"/>
                  <a:pt x="172650" y="218589"/>
                </a:cubicBezTo>
                <a:cubicBezTo>
                  <a:pt x="203444" y="218589"/>
                  <a:pt x="230200" y="204958"/>
                  <a:pt x="245850" y="173659"/>
                </a:cubicBezTo>
                <a:lnTo>
                  <a:pt x="249383" y="175174"/>
                </a:lnTo>
                <a:cubicBezTo>
                  <a:pt x="234744" y="229190"/>
                  <a:pt x="189309" y="259984"/>
                  <a:pt x="131759" y="259984"/>
                </a:cubicBezTo>
                <a:cubicBezTo>
                  <a:pt x="59569" y="259984"/>
                  <a:pt x="0" y="212531"/>
                  <a:pt x="0" y="130244"/>
                </a:cubicBezTo>
                <a:cubicBezTo>
                  <a:pt x="0" y="50987"/>
                  <a:pt x="60074" y="0"/>
                  <a:pt x="132264" y="0"/>
                </a:cubicBezTo>
                <a:close/>
                <a:moveTo>
                  <a:pt x="132264" y="8582"/>
                </a:moveTo>
                <a:cubicBezTo>
                  <a:pt x="106013" y="8582"/>
                  <a:pt x="92888" y="48463"/>
                  <a:pt x="91878" y="108032"/>
                </a:cubicBezTo>
                <a:lnTo>
                  <a:pt x="165078" y="108032"/>
                </a:lnTo>
                <a:cubicBezTo>
                  <a:pt x="165078" y="51492"/>
                  <a:pt x="161039" y="8582"/>
                  <a:pt x="132264" y="8582"/>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7" name="TextBox 66"/>
          <p:cNvSpPr txBox="1">
            <a:spLocks/>
          </p:cNvSpPr>
          <p:nvPr/>
        </p:nvSpPr>
        <p:spPr>
          <a:xfrm>
            <a:off x="11176798" y="694143"/>
            <a:ext cx="64892" cy="115102"/>
          </a:xfrm>
          <a:custGeom>
            <a:avLst/>
            <a:gdLst/>
            <a:ahLst/>
            <a:cxnLst/>
            <a:rect l="l" t="t" r="r" b="b"/>
            <a:pathLst>
              <a:path w="140846" h="249888">
                <a:moveTo>
                  <a:pt x="0" y="0"/>
                </a:moveTo>
                <a:lnTo>
                  <a:pt x="117119" y="0"/>
                </a:lnTo>
                <a:lnTo>
                  <a:pt x="117119" y="194862"/>
                </a:lnTo>
                <a:cubicBezTo>
                  <a:pt x="117119" y="228181"/>
                  <a:pt x="118633" y="234743"/>
                  <a:pt x="140846" y="248878"/>
                </a:cubicBezTo>
                <a:lnTo>
                  <a:pt x="140846" y="249888"/>
                </a:lnTo>
                <a:lnTo>
                  <a:pt x="3029" y="249888"/>
                </a:lnTo>
                <a:lnTo>
                  <a:pt x="3029" y="248878"/>
                </a:lnTo>
                <a:cubicBezTo>
                  <a:pt x="25241" y="234743"/>
                  <a:pt x="26755" y="228181"/>
                  <a:pt x="26755" y="194862"/>
                </a:cubicBezTo>
                <a:lnTo>
                  <a:pt x="26755" y="56035"/>
                </a:lnTo>
                <a:cubicBezTo>
                  <a:pt x="26755" y="21707"/>
                  <a:pt x="23726" y="14640"/>
                  <a:pt x="0" y="1009"/>
                </a:cubicBez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8" name="TextBox 67"/>
          <p:cNvSpPr txBox="1">
            <a:spLocks/>
          </p:cNvSpPr>
          <p:nvPr/>
        </p:nvSpPr>
        <p:spPr>
          <a:xfrm>
            <a:off x="11298619" y="842827"/>
            <a:ext cx="149090" cy="167421"/>
          </a:xfrm>
          <a:custGeom>
            <a:avLst/>
            <a:gdLst/>
            <a:ahLst/>
            <a:cxnLst/>
            <a:rect l="l" t="t" r="r" b="b"/>
            <a:pathLst>
              <a:path w="323593" h="363474">
                <a:moveTo>
                  <a:pt x="190319" y="0"/>
                </a:moveTo>
                <a:cubicBezTo>
                  <a:pt x="236258" y="0"/>
                  <a:pt x="260994" y="15145"/>
                  <a:pt x="277653" y="15145"/>
                </a:cubicBezTo>
                <a:cubicBezTo>
                  <a:pt x="291284" y="15145"/>
                  <a:pt x="299866" y="9087"/>
                  <a:pt x="310467" y="0"/>
                </a:cubicBezTo>
                <a:lnTo>
                  <a:pt x="314001" y="120149"/>
                </a:lnTo>
                <a:lnTo>
                  <a:pt x="312991" y="120149"/>
                </a:lnTo>
                <a:cubicBezTo>
                  <a:pt x="287750" y="56541"/>
                  <a:pt x="250393" y="11107"/>
                  <a:pt x="199910" y="11107"/>
                </a:cubicBezTo>
                <a:cubicBezTo>
                  <a:pt x="137312" y="11107"/>
                  <a:pt x="101974" y="80268"/>
                  <a:pt x="101974" y="164573"/>
                </a:cubicBezTo>
                <a:cubicBezTo>
                  <a:pt x="101974" y="260490"/>
                  <a:pt x="155486" y="315011"/>
                  <a:pt x="221113" y="315011"/>
                </a:cubicBezTo>
                <a:cubicBezTo>
                  <a:pt x="263014" y="315011"/>
                  <a:pt x="297846" y="300371"/>
                  <a:pt x="320564" y="252918"/>
                </a:cubicBezTo>
                <a:lnTo>
                  <a:pt x="323593" y="253927"/>
                </a:lnTo>
                <a:cubicBezTo>
                  <a:pt x="306428" y="321574"/>
                  <a:pt x="252412" y="363474"/>
                  <a:pt x="173660" y="363474"/>
                </a:cubicBezTo>
                <a:cubicBezTo>
                  <a:pt x="74209" y="363474"/>
                  <a:pt x="0" y="293304"/>
                  <a:pt x="0" y="186786"/>
                </a:cubicBezTo>
                <a:cubicBezTo>
                  <a:pt x="0" y="76229"/>
                  <a:pt x="85820" y="0"/>
                  <a:pt x="190319"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9" name="TextBox 68"/>
          <p:cNvSpPr txBox="1">
            <a:spLocks/>
          </p:cNvSpPr>
          <p:nvPr/>
        </p:nvSpPr>
        <p:spPr>
          <a:xfrm>
            <a:off x="11640919" y="842827"/>
            <a:ext cx="167232" cy="16742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0" name="TextBox 69"/>
          <p:cNvSpPr txBox="1">
            <a:spLocks/>
          </p:cNvSpPr>
          <p:nvPr/>
        </p:nvSpPr>
        <p:spPr>
          <a:xfrm>
            <a:off x="11457735" y="843060"/>
            <a:ext cx="172117" cy="164863"/>
          </a:xfrm>
          <a:custGeom>
            <a:avLst/>
            <a:gdLst/>
            <a:ahLst/>
            <a:cxnLst/>
            <a:rect l="l" t="t" r="r" b="b"/>
            <a:pathLst>
              <a:path w="373571" h="357921">
                <a:moveTo>
                  <a:pt x="17164" y="0"/>
                </a:moveTo>
                <a:cubicBezTo>
                  <a:pt x="24232" y="3534"/>
                  <a:pt x="35338" y="4544"/>
                  <a:pt x="52502" y="4544"/>
                </a:cubicBezTo>
                <a:lnTo>
                  <a:pt x="321069" y="4544"/>
                </a:lnTo>
                <a:cubicBezTo>
                  <a:pt x="338233" y="4544"/>
                  <a:pt x="349339" y="3534"/>
                  <a:pt x="356407" y="0"/>
                </a:cubicBezTo>
                <a:lnTo>
                  <a:pt x="373571" y="119644"/>
                </a:lnTo>
                <a:lnTo>
                  <a:pt x="372561" y="119644"/>
                </a:lnTo>
                <a:cubicBezTo>
                  <a:pt x="329651" y="50988"/>
                  <a:pt x="309963" y="17669"/>
                  <a:pt x="255946" y="17669"/>
                </a:cubicBezTo>
                <a:lnTo>
                  <a:pt x="234239" y="17669"/>
                </a:lnTo>
                <a:lnTo>
                  <a:pt x="234239" y="297847"/>
                </a:lnTo>
                <a:cubicBezTo>
                  <a:pt x="234239" y="331165"/>
                  <a:pt x="240802" y="342272"/>
                  <a:pt x="263014" y="356912"/>
                </a:cubicBezTo>
                <a:lnTo>
                  <a:pt x="263014" y="357921"/>
                </a:lnTo>
                <a:lnTo>
                  <a:pt x="110557" y="357921"/>
                </a:lnTo>
                <a:lnTo>
                  <a:pt x="110557" y="356912"/>
                </a:lnTo>
                <a:cubicBezTo>
                  <a:pt x="133274" y="342272"/>
                  <a:pt x="139332" y="331165"/>
                  <a:pt x="139332" y="297847"/>
                </a:cubicBezTo>
                <a:lnTo>
                  <a:pt x="139332" y="17669"/>
                </a:lnTo>
                <a:lnTo>
                  <a:pt x="117624" y="17669"/>
                </a:lnTo>
                <a:cubicBezTo>
                  <a:pt x="63608" y="17669"/>
                  <a:pt x="43920" y="50988"/>
                  <a:pt x="1010" y="119644"/>
                </a:cubicBezTo>
                <a:lnTo>
                  <a:pt x="0" y="119644"/>
                </a:lnTo>
                <a:lnTo>
                  <a:pt x="17164"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grpSp>
        <p:nvGrpSpPr>
          <p:cNvPr id="2" name="Group 1"/>
          <p:cNvGrpSpPr/>
          <p:nvPr/>
        </p:nvGrpSpPr>
        <p:grpSpPr>
          <a:xfrm>
            <a:off x="11001879" y="849615"/>
            <a:ext cx="276881" cy="61257"/>
            <a:chOff x="10999013" y="849614"/>
            <a:chExt cx="276809" cy="61257"/>
          </a:xfrm>
          <a:solidFill>
            <a:schemeClr val="accent3"/>
          </a:solidFill>
        </p:grpSpPr>
        <p:sp>
          <p:nvSpPr>
            <p:cNvPr id="71" name="TextBox 70"/>
            <p:cNvSpPr txBox="1">
              <a:spLocks/>
            </p:cNvSpPr>
            <p:nvPr/>
          </p:nvSpPr>
          <p:spPr>
            <a:xfrm>
              <a:off x="10999013" y="849614"/>
              <a:ext cx="60220" cy="61257"/>
            </a:xfrm>
            <a:custGeom>
              <a:avLst/>
              <a:gdLst/>
              <a:ahLst/>
              <a:cxnLst/>
              <a:rect l="l" t="t" r="r" b="b"/>
              <a:pathLst>
                <a:path w="130738" h="132991">
                  <a:moveTo>
                    <a:pt x="65709" y="0"/>
                  </a:moveTo>
                  <a:cubicBezTo>
                    <a:pt x="86122" y="0"/>
                    <a:pt x="102063" y="5891"/>
                    <a:pt x="113533" y="17673"/>
                  </a:cubicBezTo>
                  <a:cubicBezTo>
                    <a:pt x="125003" y="29455"/>
                    <a:pt x="130738" y="45715"/>
                    <a:pt x="130738" y="66451"/>
                  </a:cubicBezTo>
                  <a:cubicBezTo>
                    <a:pt x="130738" y="87129"/>
                    <a:pt x="124987" y="103389"/>
                    <a:pt x="113485" y="115230"/>
                  </a:cubicBezTo>
                  <a:cubicBezTo>
                    <a:pt x="101982" y="127071"/>
                    <a:pt x="85992" y="132991"/>
                    <a:pt x="65515" y="132991"/>
                  </a:cubicBezTo>
                  <a:cubicBezTo>
                    <a:pt x="44584" y="132991"/>
                    <a:pt x="28432" y="127174"/>
                    <a:pt x="17059" y="115539"/>
                  </a:cubicBezTo>
                  <a:cubicBezTo>
                    <a:pt x="5686" y="103904"/>
                    <a:pt x="0" y="87483"/>
                    <a:pt x="0" y="66275"/>
                  </a:cubicBezTo>
                  <a:cubicBezTo>
                    <a:pt x="0" y="45243"/>
                    <a:pt x="5702" y="28940"/>
                    <a:pt x="17107" y="17364"/>
                  </a:cubicBezTo>
                  <a:cubicBezTo>
                    <a:pt x="28513" y="5788"/>
                    <a:pt x="44713" y="0"/>
                    <a:pt x="65709" y="0"/>
                  </a:cubicBezTo>
                  <a:close/>
                  <a:moveTo>
                    <a:pt x="65709" y="13431"/>
                  </a:moveTo>
                  <a:cubicBezTo>
                    <a:pt x="49962" y="13431"/>
                    <a:pt x="37990" y="17953"/>
                    <a:pt x="29793" y="26996"/>
                  </a:cubicBezTo>
                  <a:cubicBezTo>
                    <a:pt x="21595" y="36038"/>
                    <a:pt x="17496" y="49190"/>
                    <a:pt x="17496" y="66451"/>
                  </a:cubicBezTo>
                  <a:cubicBezTo>
                    <a:pt x="17496" y="83948"/>
                    <a:pt x="21595" y="97218"/>
                    <a:pt x="29793" y="106261"/>
                  </a:cubicBezTo>
                  <a:cubicBezTo>
                    <a:pt x="37990" y="115303"/>
                    <a:pt x="49897" y="119825"/>
                    <a:pt x="65515" y="119825"/>
                  </a:cubicBezTo>
                  <a:cubicBezTo>
                    <a:pt x="81262" y="119825"/>
                    <a:pt x="93153" y="115318"/>
                    <a:pt x="101188" y="106305"/>
                  </a:cubicBezTo>
                  <a:cubicBezTo>
                    <a:pt x="109224" y="97291"/>
                    <a:pt x="113242" y="84007"/>
                    <a:pt x="113242" y="66451"/>
                  </a:cubicBezTo>
                  <a:cubicBezTo>
                    <a:pt x="113242" y="49073"/>
                    <a:pt x="109240" y="35891"/>
                    <a:pt x="101237" y="26907"/>
                  </a:cubicBezTo>
                  <a:cubicBezTo>
                    <a:pt x="93234" y="17923"/>
                    <a:pt x="81391" y="13431"/>
                    <a:pt x="65709" y="13431"/>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2" name="TextBox 71"/>
            <p:cNvSpPr txBox="1">
              <a:spLocks/>
            </p:cNvSpPr>
            <p:nvPr/>
          </p:nvSpPr>
          <p:spPr>
            <a:xfrm>
              <a:off x="11068225" y="850549"/>
              <a:ext cx="36490" cy="59507"/>
            </a:xfrm>
            <a:custGeom>
              <a:avLst/>
              <a:gdLst/>
              <a:ahLst/>
              <a:cxnLst/>
              <a:rect l="l" t="t" r="r" b="b"/>
              <a:pathLst>
                <a:path w="79221" h="129192">
                  <a:moveTo>
                    <a:pt x="0" y="0"/>
                  </a:moveTo>
                  <a:lnTo>
                    <a:pt x="79221" y="0"/>
                  </a:lnTo>
                  <a:lnTo>
                    <a:pt x="79221" y="13343"/>
                  </a:lnTo>
                  <a:lnTo>
                    <a:pt x="16525" y="13343"/>
                  </a:lnTo>
                  <a:lnTo>
                    <a:pt x="16525" y="60620"/>
                  </a:lnTo>
                  <a:lnTo>
                    <a:pt x="75430" y="60620"/>
                  </a:lnTo>
                  <a:lnTo>
                    <a:pt x="75430" y="73963"/>
                  </a:lnTo>
                  <a:lnTo>
                    <a:pt x="16525" y="73963"/>
                  </a:lnTo>
                  <a:lnTo>
                    <a:pt x="16525"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3" name="TextBox 72"/>
            <p:cNvSpPr txBox="1">
              <a:spLocks/>
            </p:cNvSpPr>
            <p:nvPr/>
          </p:nvSpPr>
          <p:spPr>
            <a:xfrm>
              <a:off x="11121455" y="850549"/>
              <a:ext cx="49071" cy="59507"/>
            </a:xfrm>
            <a:custGeom>
              <a:avLst/>
              <a:gdLst/>
              <a:ahLst/>
              <a:cxnLst/>
              <a:rect l="l" t="t" r="r" b="b"/>
              <a:pathLst>
                <a:path w="106535" h="129192">
                  <a:moveTo>
                    <a:pt x="0" y="0"/>
                  </a:moveTo>
                  <a:lnTo>
                    <a:pt x="106535" y="0"/>
                  </a:lnTo>
                  <a:lnTo>
                    <a:pt x="106535" y="13343"/>
                  </a:lnTo>
                  <a:lnTo>
                    <a:pt x="61530" y="13343"/>
                  </a:lnTo>
                  <a:lnTo>
                    <a:pt x="61530" y="129192"/>
                  </a:lnTo>
                  <a:lnTo>
                    <a:pt x="45005" y="129192"/>
                  </a:lnTo>
                  <a:lnTo>
                    <a:pt x="45005" y="13343"/>
                  </a:lnTo>
                  <a:lnTo>
                    <a:pt x="0" y="13343"/>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4" name="TextBox 73"/>
            <p:cNvSpPr txBox="1">
              <a:spLocks/>
            </p:cNvSpPr>
            <p:nvPr/>
          </p:nvSpPr>
          <p:spPr>
            <a:xfrm>
              <a:off x="11177909" y="850549"/>
              <a:ext cx="49698" cy="59507"/>
            </a:xfrm>
            <a:custGeom>
              <a:avLst/>
              <a:gdLst/>
              <a:ahLst/>
              <a:cxnLst/>
              <a:rect l="l" t="t" r="r" b="b"/>
              <a:pathLst>
                <a:path w="107896" h="129192">
                  <a:moveTo>
                    <a:pt x="0" y="0"/>
                  </a:moveTo>
                  <a:lnTo>
                    <a:pt x="16525" y="0"/>
                  </a:lnTo>
                  <a:lnTo>
                    <a:pt x="16525" y="54964"/>
                  </a:lnTo>
                  <a:lnTo>
                    <a:pt x="91371" y="54964"/>
                  </a:lnTo>
                  <a:lnTo>
                    <a:pt x="91371" y="0"/>
                  </a:lnTo>
                  <a:lnTo>
                    <a:pt x="107896" y="0"/>
                  </a:lnTo>
                  <a:lnTo>
                    <a:pt x="107896" y="129192"/>
                  </a:lnTo>
                  <a:lnTo>
                    <a:pt x="91371" y="129192"/>
                  </a:lnTo>
                  <a:lnTo>
                    <a:pt x="91371" y="68396"/>
                  </a:lnTo>
                  <a:lnTo>
                    <a:pt x="16525" y="68396"/>
                  </a:lnTo>
                  <a:lnTo>
                    <a:pt x="16525"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5" name="TextBox 74"/>
            <p:cNvSpPr txBox="1">
              <a:spLocks/>
            </p:cNvSpPr>
            <p:nvPr/>
          </p:nvSpPr>
          <p:spPr>
            <a:xfrm>
              <a:off x="11239332" y="850549"/>
              <a:ext cx="36490" cy="59507"/>
            </a:xfrm>
            <a:custGeom>
              <a:avLst/>
              <a:gdLst/>
              <a:ahLst/>
              <a:cxnLst/>
              <a:rect l="l" t="t" r="r" b="b"/>
              <a:pathLst>
                <a:path w="79221" h="129192">
                  <a:moveTo>
                    <a:pt x="0" y="0"/>
                  </a:moveTo>
                  <a:lnTo>
                    <a:pt x="79221" y="0"/>
                  </a:lnTo>
                  <a:lnTo>
                    <a:pt x="79221" y="13343"/>
                  </a:lnTo>
                  <a:lnTo>
                    <a:pt x="16525" y="13343"/>
                  </a:lnTo>
                  <a:lnTo>
                    <a:pt x="16525" y="54964"/>
                  </a:lnTo>
                  <a:lnTo>
                    <a:pt x="75430" y="54964"/>
                  </a:lnTo>
                  <a:lnTo>
                    <a:pt x="75430" y="68219"/>
                  </a:lnTo>
                  <a:lnTo>
                    <a:pt x="16525" y="68219"/>
                  </a:lnTo>
                  <a:lnTo>
                    <a:pt x="16525" y="115760"/>
                  </a:lnTo>
                  <a:lnTo>
                    <a:pt x="79221" y="115760"/>
                  </a:lnTo>
                  <a:lnTo>
                    <a:pt x="79221"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grpSp>
      <p:sp>
        <p:nvSpPr>
          <p:cNvPr id="62" name="Freeform 9"/>
          <p:cNvSpPr>
            <a:spLocks noEditPoints="1"/>
          </p:cNvSpPr>
          <p:nvPr/>
        </p:nvSpPr>
        <p:spPr bwMode="auto">
          <a:xfrm>
            <a:off x="10579888" y="371026"/>
            <a:ext cx="1417689" cy="783522"/>
          </a:xfrm>
          <a:custGeom>
            <a:avLst/>
            <a:gdLst>
              <a:gd name="T0" fmla="*/ 279 w 326"/>
              <a:gd name="T1" fmla="*/ 180 h 180"/>
              <a:gd name="T2" fmla="*/ 271 w 326"/>
              <a:gd name="T3" fmla="*/ 179 h 180"/>
              <a:gd name="T4" fmla="*/ 45 w 326"/>
              <a:gd name="T5" fmla="*/ 179 h 180"/>
              <a:gd name="T6" fmla="*/ 6 w 326"/>
              <a:gd name="T7" fmla="*/ 153 h 180"/>
              <a:gd name="T8" fmla="*/ 0 w 326"/>
              <a:gd name="T9" fmla="*/ 129 h 180"/>
              <a:gd name="T10" fmla="*/ 32 w 326"/>
              <a:gd name="T11" fmla="*/ 82 h 180"/>
              <a:gd name="T12" fmla="*/ 30 w 326"/>
              <a:gd name="T13" fmla="*/ 70 h 180"/>
              <a:gd name="T14" fmla="*/ 100 w 326"/>
              <a:gd name="T15" fmla="*/ 0 h 180"/>
              <a:gd name="T16" fmla="*/ 154 w 326"/>
              <a:gd name="T17" fmla="*/ 26 h 180"/>
              <a:gd name="T18" fmla="*/ 187 w 326"/>
              <a:gd name="T19" fmla="*/ 16 h 180"/>
              <a:gd name="T20" fmla="*/ 242 w 326"/>
              <a:gd name="T21" fmla="*/ 55 h 180"/>
              <a:gd name="T22" fmla="*/ 245 w 326"/>
              <a:gd name="T23" fmla="*/ 54 h 180"/>
              <a:gd name="T24" fmla="*/ 280 w 326"/>
              <a:gd name="T25" fmla="*/ 85 h 180"/>
              <a:gd name="T26" fmla="*/ 326 w 326"/>
              <a:gd name="T27" fmla="*/ 132 h 180"/>
              <a:gd name="T28" fmla="*/ 279 w 326"/>
              <a:gd name="T29" fmla="*/ 180 h 180"/>
              <a:gd name="T30" fmla="*/ 100 w 326"/>
              <a:gd name="T31" fmla="*/ 4 h 180"/>
              <a:gd name="T32" fmla="*/ 34 w 326"/>
              <a:gd name="T33" fmla="*/ 70 h 180"/>
              <a:gd name="T34" fmla="*/ 36 w 326"/>
              <a:gd name="T35" fmla="*/ 83 h 180"/>
              <a:gd name="T36" fmla="*/ 36 w 326"/>
              <a:gd name="T37" fmla="*/ 85 h 180"/>
              <a:gd name="T38" fmla="*/ 35 w 326"/>
              <a:gd name="T39" fmla="*/ 86 h 180"/>
              <a:gd name="T40" fmla="*/ 4 w 326"/>
              <a:gd name="T41" fmla="*/ 129 h 180"/>
              <a:gd name="T42" fmla="*/ 10 w 326"/>
              <a:gd name="T43" fmla="*/ 151 h 180"/>
              <a:gd name="T44" fmla="*/ 10 w 326"/>
              <a:gd name="T45" fmla="*/ 151 h 180"/>
              <a:gd name="T46" fmla="*/ 45 w 326"/>
              <a:gd name="T47" fmla="*/ 175 h 180"/>
              <a:gd name="T48" fmla="*/ 271 w 326"/>
              <a:gd name="T49" fmla="*/ 175 h 180"/>
              <a:gd name="T50" fmla="*/ 272 w 326"/>
              <a:gd name="T51" fmla="*/ 175 h 180"/>
              <a:gd name="T52" fmla="*/ 279 w 326"/>
              <a:gd name="T53" fmla="*/ 176 h 180"/>
              <a:gd name="T54" fmla="*/ 322 w 326"/>
              <a:gd name="T55" fmla="*/ 132 h 180"/>
              <a:gd name="T56" fmla="*/ 279 w 326"/>
              <a:gd name="T57" fmla="*/ 89 h 180"/>
              <a:gd name="T58" fmla="*/ 278 w 326"/>
              <a:gd name="T59" fmla="*/ 89 h 180"/>
              <a:gd name="T60" fmla="*/ 276 w 326"/>
              <a:gd name="T61" fmla="*/ 89 h 180"/>
              <a:gd name="T62" fmla="*/ 276 w 326"/>
              <a:gd name="T63" fmla="*/ 87 h 180"/>
              <a:gd name="T64" fmla="*/ 245 w 326"/>
              <a:gd name="T65" fmla="*/ 58 h 180"/>
              <a:gd name="T66" fmla="*/ 240 w 326"/>
              <a:gd name="T67" fmla="*/ 59 h 180"/>
              <a:gd name="T68" fmla="*/ 239 w 326"/>
              <a:gd name="T69" fmla="*/ 59 h 180"/>
              <a:gd name="T70" fmla="*/ 238 w 326"/>
              <a:gd name="T71" fmla="*/ 57 h 180"/>
              <a:gd name="T72" fmla="*/ 187 w 326"/>
              <a:gd name="T73" fmla="*/ 20 h 180"/>
              <a:gd name="T74" fmla="*/ 155 w 326"/>
              <a:gd name="T75" fmla="*/ 30 h 180"/>
              <a:gd name="T76" fmla="*/ 153 w 326"/>
              <a:gd name="T77" fmla="*/ 31 h 180"/>
              <a:gd name="T78" fmla="*/ 152 w 326"/>
              <a:gd name="T79" fmla="*/ 30 h 180"/>
              <a:gd name="T80" fmla="*/ 100 w 326"/>
              <a:gd name="T8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6" h="180">
                <a:moveTo>
                  <a:pt x="279" y="180"/>
                </a:moveTo>
                <a:cubicBezTo>
                  <a:pt x="276" y="180"/>
                  <a:pt x="274" y="179"/>
                  <a:pt x="271" y="179"/>
                </a:cubicBezTo>
                <a:cubicBezTo>
                  <a:pt x="45" y="179"/>
                  <a:pt x="45" y="179"/>
                  <a:pt x="45" y="179"/>
                </a:cubicBezTo>
                <a:cubicBezTo>
                  <a:pt x="28" y="179"/>
                  <a:pt x="13" y="169"/>
                  <a:pt x="6" y="153"/>
                </a:cubicBezTo>
                <a:cubicBezTo>
                  <a:pt x="2" y="146"/>
                  <a:pt x="0" y="137"/>
                  <a:pt x="0" y="129"/>
                </a:cubicBezTo>
                <a:cubicBezTo>
                  <a:pt x="0" y="109"/>
                  <a:pt x="13" y="90"/>
                  <a:pt x="32" y="82"/>
                </a:cubicBezTo>
                <a:cubicBezTo>
                  <a:pt x="31" y="78"/>
                  <a:pt x="30" y="74"/>
                  <a:pt x="30" y="70"/>
                </a:cubicBezTo>
                <a:cubicBezTo>
                  <a:pt x="30" y="32"/>
                  <a:pt x="62" y="0"/>
                  <a:pt x="100" y="0"/>
                </a:cubicBezTo>
                <a:cubicBezTo>
                  <a:pt x="121" y="0"/>
                  <a:pt x="141" y="10"/>
                  <a:pt x="154" y="26"/>
                </a:cubicBezTo>
                <a:cubicBezTo>
                  <a:pt x="164" y="19"/>
                  <a:pt x="175" y="16"/>
                  <a:pt x="187" y="16"/>
                </a:cubicBezTo>
                <a:cubicBezTo>
                  <a:pt x="212" y="16"/>
                  <a:pt x="233" y="31"/>
                  <a:pt x="242" y="55"/>
                </a:cubicBezTo>
                <a:cubicBezTo>
                  <a:pt x="243" y="54"/>
                  <a:pt x="244" y="54"/>
                  <a:pt x="245" y="54"/>
                </a:cubicBezTo>
                <a:cubicBezTo>
                  <a:pt x="263" y="54"/>
                  <a:pt x="278" y="68"/>
                  <a:pt x="280" y="85"/>
                </a:cubicBezTo>
                <a:cubicBezTo>
                  <a:pt x="305" y="86"/>
                  <a:pt x="326" y="107"/>
                  <a:pt x="326" y="132"/>
                </a:cubicBezTo>
                <a:cubicBezTo>
                  <a:pt x="326" y="158"/>
                  <a:pt x="305" y="180"/>
                  <a:pt x="279" y="180"/>
                </a:cubicBezTo>
                <a:close/>
                <a:moveTo>
                  <a:pt x="100" y="4"/>
                </a:moveTo>
                <a:cubicBezTo>
                  <a:pt x="64" y="4"/>
                  <a:pt x="34" y="34"/>
                  <a:pt x="34" y="70"/>
                </a:cubicBezTo>
                <a:cubicBezTo>
                  <a:pt x="34" y="75"/>
                  <a:pt x="35" y="79"/>
                  <a:pt x="36" y="83"/>
                </a:cubicBezTo>
                <a:cubicBezTo>
                  <a:pt x="36" y="85"/>
                  <a:pt x="36" y="85"/>
                  <a:pt x="36" y="85"/>
                </a:cubicBezTo>
                <a:cubicBezTo>
                  <a:pt x="35" y="86"/>
                  <a:pt x="35" y="86"/>
                  <a:pt x="35" y="86"/>
                </a:cubicBezTo>
                <a:cubicBezTo>
                  <a:pt x="16" y="92"/>
                  <a:pt x="4" y="110"/>
                  <a:pt x="4" y="129"/>
                </a:cubicBezTo>
                <a:cubicBezTo>
                  <a:pt x="4" y="137"/>
                  <a:pt x="6" y="144"/>
                  <a:pt x="10" y="151"/>
                </a:cubicBezTo>
                <a:cubicBezTo>
                  <a:pt x="10" y="151"/>
                  <a:pt x="10" y="151"/>
                  <a:pt x="10" y="151"/>
                </a:cubicBezTo>
                <a:cubicBezTo>
                  <a:pt x="16" y="166"/>
                  <a:pt x="30" y="175"/>
                  <a:pt x="45" y="175"/>
                </a:cubicBezTo>
                <a:cubicBezTo>
                  <a:pt x="271" y="175"/>
                  <a:pt x="271" y="175"/>
                  <a:pt x="271" y="175"/>
                </a:cubicBezTo>
                <a:cubicBezTo>
                  <a:pt x="272" y="175"/>
                  <a:pt x="272" y="175"/>
                  <a:pt x="272" y="175"/>
                </a:cubicBezTo>
                <a:cubicBezTo>
                  <a:pt x="274" y="175"/>
                  <a:pt x="276" y="176"/>
                  <a:pt x="279" y="176"/>
                </a:cubicBezTo>
                <a:cubicBezTo>
                  <a:pt x="303" y="176"/>
                  <a:pt x="322" y="156"/>
                  <a:pt x="322" y="132"/>
                </a:cubicBezTo>
                <a:cubicBezTo>
                  <a:pt x="322" y="109"/>
                  <a:pt x="303" y="89"/>
                  <a:pt x="279" y="89"/>
                </a:cubicBezTo>
                <a:cubicBezTo>
                  <a:pt x="279" y="89"/>
                  <a:pt x="278" y="89"/>
                  <a:pt x="278" y="89"/>
                </a:cubicBezTo>
                <a:cubicBezTo>
                  <a:pt x="276" y="89"/>
                  <a:pt x="276" y="89"/>
                  <a:pt x="276" y="89"/>
                </a:cubicBezTo>
                <a:cubicBezTo>
                  <a:pt x="276" y="87"/>
                  <a:pt x="276" y="87"/>
                  <a:pt x="276" y="87"/>
                </a:cubicBezTo>
                <a:cubicBezTo>
                  <a:pt x="275" y="71"/>
                  <a:pt x="261" y="58"/>
                  <a:pt x="245" y="58"/>
                </a:cubicBezTo>
                <a:cubicBezTo>
                  <a:pt x="243" y="58"/>
                  <a:pt x="242" y="59"/>
                  <a:pt x="240" y="59"/>
                </a:cubicBezTo>
                <a:cubicBezTo>
                  <a:pt x="239" y="59"/>
                  <a:pt x="239" y="59"/>
                  <a:pt x="239" y="59"/>
                </a:cubicBezTo>
                <a:cubicBezTo>
                  <a:pt x="238" y="57"/>
                  <a:pt x="238" y="57"/>
                  <a:pt x="238" y="57"/>
                </a:cubicBezTo>
                <a:cubicBezTo>
                  <a:pt x="231" y="35"/>
                  <a:pt x="210" y="20"/>
                  <a:pt x="187" y="20"/>
                </a:cubicBezTo>
                <a:cubicBezTo>
                  <a:pt x="175" y="20"/>
                  <a:pt x="164" y="23"/>
                  <a:pt x="155" y="30"/>
                </a:cubicBezTo>
                <a:cubicBezTo>
                  <a:pt x="153" y="31"/>
                  <a:pt x="153" y="31"/>
                  <a:pt x="153" y="31"/>
                </a:cubicBezTo>
                <a:cubicBezTo>
                  <a:pt x="152" y="30"/>
                  <a:pt x="152" y="30"/>
                  <a:pt x="152" y="30"/>
                </a:cubicBezTo>
                <a:cubicBezTo>
                  <a:pt x="139" y="14"/>
                  <a:pt x="121" y="4"/>
                  <a:pt x="100" y="4"/>
                </a:cubicBezTo>
                <a:close/>
              </a:path>
            </a:pathLst>
          </a:custGeom>
          <a:solidFill>
            <a:srgbClr val="34697F"/>
          </a:solidFill>
          <a:ln>
            <a:noFill/>
          </a:ln>
          <a:extLst/>
        </p:spPr>
        <p:txBody>
          <a:bodyPr vert="horz" wrap="square" lIns="91440" tIns="45720" rIns="91440" bIns="45720" numCol="1" anchor="t" anchorCtr="0" compatLnSpc="1">
            <a:prstTxWarp prst="textNoShape">
              <a:avLst/>
            </a:prstTxWarp>
          </a:bodyPr>
          <a:lstStyle/>
          <a:p>
            <a:endParaRPr lang="en-US" sz="1800">
              <a:latin typeface="Arial" panose="020B0604020202020204" pitchFamily="34" charset="0"/>
              <a:cs typeface="Arial" panose="020B0604020202020204" pitchFamily="34" charset="0"/>
              <a:sym typeface="Arial" panose="020B0604020202020204" pitchFamily="34" charset="0"/>
            </a:endParaRPr>
          </a:p>
        </p:txBody>
      </p:sp>
      <p:sp>
        <p:nvSpPr>
          <p:cNvPr id="23" name="Rectangle 22"/>
          <p:cNvSpPr/>
          <p:nvPr userDrawn="1"/>
        </p:nvSpPr>
        <p:spPr>
          <a:xfrm>
            <a:off x="3291840" y="1554479"/>
            <a:ext cx="91440" cy="5303521"/>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1" dirty="0">
              <a:latin typeface="Arial" panose="020B0604020202020204" pitchFamily="34" charset="0"/>
              <a:cs typeface="Arial" panose="020B0604020202020204" pitchFamily="34" charset="0"/>
              <a:sym typeface="Arial" panose="020B0604020202020204" pitchFamily="34" charset="0"/>
            </a:endParaRPr>
          </a:p>
        </p:txBody>
      </p:sp>
      <p:sp>
        <p:nvSpPr>
          <p:cNvPr id="24" name="Text Placeholder 4"/>
          <p:cNvSpPr>
            <a:spLocks noGrp="1"/>
          </p:cNvSpPr>
          <p:nvPr>
            <p:ph type="body" sz="quarter" idx="12" hasCustomPrompt="1"/>
          </p:nvPr>
        </p:nvSpPr>
        <p:spPr>
          <a:xfrm>
            <a:off x="3838902" y="2011681"/>
            <a:ext cx="7891135" cy="4174372"/>
          </a:xfrm>
          <a:prstGeom prst="rect">
            <a:avLst/>
          </a:prstGeo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lvl="0"/>
            <a:r>
              <a:rPr lang="en-US" dirty="0"/>
              <a:t>Body text</a:t>
            </a:r>
          </a:p>
        </p:txBody>
      </p:sp>
    </p:spTree>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Internal Slide - Photo Left Larg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93752807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18" name="think-cell Slide" r:id="rId4" imgW="498" imgH="499" progId="TCLayout.ActiveDocument.1">
                  <p:embed/>
                </p:oleObj>
              </mc:Choice>
              <mc:Fallback>
                <p:oleObj name="think-cell Slide" r:id="rId4" imgW="498" imgH="499"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2" name="Picture Placeholder 5"/>
          <p:cNvSpPr>
            <a:spLocks noGrp="1"/>
          </p:cNvSpPr>
          <p:nvPr>
            <p:ph type="pic" sz="quarter" idx="13" hasCustomPrompt="1"/>
          </p:nvPr>
        </p:nvSpPr>
        <p:spPr>
          <a:xfrm>
            <a:off x="-2" y="1554481"/>
            <a:ext cx="3840480" cy="5303519"/>
          </a:xfrm>
          <a:prstGeom prst="rect">
            <a:avLst/>
          </a:prstGeom>
          <a:solidFill>
            <a:schemeClr val="bg2"/>
          </a:solidFill>
        </p:spPr>
        <p:txBody>
          <a:bodyPr anchor="ctr"/>
          <a:lstStyle>
            <a:lvl1pPr algn="ctr">
              <a:defRPr sz="3200">
                <a:solidFill>
                  <a:schemeClr val="bg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stStyle>
          <a:p>
            <a:r>
              <a:rPr lang="en-US" dirty="0"/>
              <a:t>IMAGE</a:t>
            </a:r>
          </a:p>
        </p:txBody>
      </p:sp>
      <p:sp>
        <p:nvSpPr>
          <p:cNvPr id="55" name="Rectangle 54"/>
          <p:cNvSpPr/>
          <p:nvPr/>
        </p:nvSpPr>
        <p:spPr>
          <a:xfrm>
            <a:off x="0" y="1"/>
            <a:ext cx="12191996" cy="1554480"/>
          </a:xfrm>
          <a:prstGeom prst="rect">
            <a:avLst/>
          </a:prstGeom>
          <a:solidFill>
            <a:srgbClr val="064E69"/>
          </a:solidFill>
        </p:spPr>
        <p:txBody>
          <a:bodyPr wrap="square" lIns="548640" tIns="0" rIns="91440" bIns="0" anchor="ctr">
            <a:noAutofit/>
          </a:bodyPr>
          <a:lstStyle/>
          <a:p>
            <a:endParaRPr lang="en-US" sz="4000" b="1" dirty="0">
              <a:solidFill>
                <a:schemeClr val="bg1"/>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56" name="Rectangle 55"/>
          <p:cNvSpPr/>
          <p:nvPr/>
        </p:nvSpPr>
        <p:spPr>
          <a:xfrm>
            <a:off x="-1" y="1448246"/>
            <a:ext cx="12192127" cy="106731"/>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1" dirty="0">
              <a:latin typeface="Arial" panose="020B0604020202020204" pitchFamily="34" charset="0"/>
              <a:cs typeface="Arial" panose="020B0604020202020204" pitchFamily="34" charset="0"/>
              <a:sym typeface="Arial" panose="020B0604020202020204" pitchFamily="34" charset="0"/>
            </a:endParaRPr>
          </a:p>
        </p:txBody>
      </p:sp>
      <p:sp>
        <p:nvSpPr>
          <p:cNvPr id="57" name="Title 1"/>
          <p:cNvSpPr>
            <a:spLocks noGrp="1"/>
          </p:cNvSpPr>
          <p:nvPr>
            <p:ph type="title" hasCustomPrompt="1"/>
          </p:nvPr>
        </p:nvSpPr>
        <p:spPr>
          <a:xfrm>
            <a:off x="457200" y="296379"/>
            <a:ext cx="9688623" cy="476805"/>
          </a:xfrm>
          <a:prstGeom prst="rect">
            <a:avLst/>
          </a:prstGeom>
        </p:spPr>
        <p:txBody>
          <a:bodyPr tIns="0" bIns="0" anchor="t" anchorCtr="0"/>
          <a:lstStyle>
            <a:lvl1pPr algn="l">
              <a:defRPr sz="3000" b="1">
                <a:solidFill>
                  <a:schemeClr val="bg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stStyle>
          <a:p>
            <a:r>
              <a:rPr lang="en-US" dirty="0"/>
              <a:t>Title</a:t>
            </a:r>
          </a:p>
        </p:txBody>
      </p:sp>
      <p:sp>
        <p:nvSpPr>
          <p:cNvPr id="58" name="Text Placeholder 9"/>
          <p:cNvSpPr>
            <a:spLocks noGrp="1"/>
          </p:cNvSpPr>
          <p:nvPr>
            <p:ph type="body" sz="quarter" idx="11" hasCustomPrompt="1"/>
          </p:nvPr>
        </p:nvSpPr>
        <p:spPr>
          <a:xfrm>
            <a:off x="457200" y="860151"/>
            <a:ext cx="9688622" cy="423094"/>
          </a:xfrm>
          <a:prstGeom prst="rect">
            <a:avLst/>
          </a:prstGeom>
        </p:spPr>
        <p:txBody>
          <a:bodyPr anchor="ctr"/>
          <a:lstStyle>
            <a:lvl1pPr algn="l">
              <a:lnSpc>
                <a:spcPct val="90000"/>
              </a:lnSpc>
              <a:spcBef>
                <a:spcPts val="0"/>
              </a:spcBef>
              <a:defRPr sz="200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pPr lvl="0"/>
            <a:r>
              <a:rPr lang="en-US" dirty="0"/>
              <a:t>Subtitle</a:t>
            </a:r>
          </a:p>
        </p:txBody>
      </p:sp>
      <p:cxnSp>
        <p:nvCxnSpPr>
          <p:cNvPr id="59" name="Straight Connector 58"/>
          <p:cNvCxnSpPr/>
          <p:nvPr/>
        </p:nvCxnSpPr>
        <p:spPr>
          <a:xfrm>
            <a:off x="10363874" y="222724"/>
            <a:ext cx="0" cy="1032988"/>
          </a:xfrm>
          <a:prstGeom prst="line">
            <a:avLst/>
          </a:prstGeom>
          <a:ln w="15875" cmpd="sng">
            <a:solidFill>
              <a:schemeClr val="accent2">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63" name="TextBox 62"/>
          <p:cNvSpPr txBox="1">
            <a:spLocks/>
          </p:cNvSpPr>
          <p:nvPr/>
        </p:nvSpPr>
        <p:spPr>
          <a:xfrm>
            <a:off x="11008872" y="633221"/>
            <a:ext cx="224212" cy="176024"/>
          </a:xfrm>
          <a:custGeom>
            <a:avLst/>
            <a:gdLst/>
            <a:ahLst/>
            <a:cxnLst/>
            <a:rect l="l" t="t" r="r" b="b"/>
            <a:pathLst>
              <a:path w="486642" h="382152">
                <a:moveTo>
                  <a:pt x="150943" y="0"/>
                </a:moveTo>
                <a:cubicBezTo>
                  <a:pt x="191582" y="0"/>
                  <a:pt x="224490" y="12368"/>
                  <a:pt x="232082" y="39810"/>
                </a:cubicBezTo>
                <a:lnTo>
                  <a:pt x="232262" y="41192"/>
                </a:lnTo>
                <a:lnTo>
                  <a:pt x="244394" y="27828"/>
                </a:lnTo>
                <a:cubicBezTo>
                  <a:pt x="265912" y="9086"/>
                  <a:pt x="296328" y="0"/>
                  <a:pt x="331918" y="0"/>
                </a:cubicBezTo>
                <a:cubicBezTo>
                  <a:pt x="355140" y="0"/>
                  <a:pt x="375838" y="4038"/>
                  <a:pt x="390730" y="12620"/>
                </a:cubicBezTo>
                <a:lnTo>
                  <a:pt x="399550" y="19037"/>
                </a:lnTo>
                <a:lnTo>
                  <a:pt x="415123" y="9213"/>
                </a:lnTo>
                <a:cubicBezTo>
                  <a:pt x="421204" y="6846"/>
                  <a:pt x="427956" y="5553"/>
                  <a:pt x="435150" y="5553"/>
                </a:cubicBezTo>
                <a:cubicBezTo>
                  <a:pt x="464430" y="5553"/>
                  <a:pt x="486642" y="26250"/>
                  <a:pt x="486642" y="53511"/>
                </a:cubicBezTo>
                <a:cubicBezTo>
                  <a:pt x="486642" y="80772"/>
                  <a:pt x="464430" y="101974"/>
                  <a:pt x="435150" y="101974"/>
                </a:cubicBezTo>
                <a:cubicBezTo>
                  <a:pt x="420763" y="101974"/>
                  <a:pt x="408142" y="96674"/>
                  <a:pt x="399118" y="87965"/>
                </a:cubicBezTo>
                <a:lnTo>
                  <a:pt x="397141" y="85099"/>
                </a:lnTo>
                <a:lnTo>
                  <a:pt x="387023" y="90979"/>
                </a:lnTo>
                <a:cubicBezTo>
                  <a:pt x="381675" y="92887"/>
                  <a:pt x="375838" y="93897"/>
                  <a:pt x="369780" y="93897"/>
                </a:cubicBezTo>
                <a:cubicBezTo>
                  <a:pt x="355140" y="93897"/>
                  <a:pt x="342015" y="89354"/>
                  <a:pt x="335452" y="81781"/>
                </a:cubicBezTo>
                <a:cubicBezTo>
                  <a:pt x="350092" y="78247"/>
                  <a:pt x="359179" y="66132"/>
                  <a:pt x="359179" y="42910"/>
                </a:cubicBezTo>
                <a:cubicBezTo>
                  <a:pt x="359179" y="22717"/>
                  <a:pt x="350597" y="8077"/>
                  <a:pt x="331918" y="8077"/>
                </a:cubicBezTo>
                <a:cubicBezTo>
                  <a:pt x="308696" y="8077"/>
                  <a:pt x="300619" y="29784"/>
                  <a:pt x="300619" y="58054"/>
                </a:cubicBezTo>
                <a:lnTo>
                  <a:pt x="300619" y="132264"/>
                </a:lnTo>
                <a:lnTo>
                  <a:pt x="363217" y="132264"/>
                </a:lnTo>
                <a:lnTo>
                  <a:pt x="360693" y="144884"/>
                </a:lnTo>
                <a:lnTo>
                  <a:pt x="300619" y="144884"/>
                </a:lnTo>
                <a:lnTo>
                  <a:pt x="300619" y="327126"/>
                </a:lnTo>
                <a:cubicBezTo>
                  <a:pt x="300619" y="360445"/>
                  <a:pt x="312230" y="369027"/>
                  <a:pt x="339490" y="381142"/>
                </a:cubicBezTo>
                <a:lnTo>
                  <a:pt x="339490" y="382152"/>
                </a:lnTo>
                <a:lnTo>
                  <a:pt x="186529" y="382152"/>
                </a:lnTo>
                <a:lnTo>
                  <a:pt x="186529" y="381142"/>
                </a:lnTo>
                <a:cubicBezTo>
                  <a:pt x="208741" y="367007"/>
                  <a:pt x="210255" y="360445"/>
                  <a:pt x="210255" y="327126"/>
                </a:cubicBezTo>
                <a:lnTo>
                  <a:pt x="210255" y="144884"/>
                </a:lnTo>
                <a:lnTo>
                  <a:pt x="180976" y="144884"/>
                </a:lnTo>
                <a:lnTo>
                  <a:pt x="180976" y="139331"/>
                </a:lnTo>
                <a:lnTo>
                  <a:pt x="210255" y="128225"/>
                </a:lnTo>
                <a:lnTo>
                  <a:pt x="210255" y="113585"/>
                </a:lnTo>
                <a:lnTo>
                  <a:pt x="212504" y="87227"/>
                </a:lnTo>
                <a:lnTo>
                  <a:pt x="206048" y="90979"/>
                </a:lnTo>
                <a:cubicBezTo>
                  <a:pt x="200700" y="92887"/>
                  <a:pt x="194863" y="93897"/>
                  <a:pt x="188805" y="93897"/>
                </a:cubicBezTo>
                <a:cubicBezTo>
                  <a:pt x="174165" y="93897"/>
                  <a:pt x="161040" y="89354"/>
                  <a:pt x="154477" y="81781"/>
                </a:cubicBezTo>
                <a:cubicBezTo>
                  <a:pt x="169117" y="78247"/>
                  <a:pt x="178204" y="66132"/>
                  <a:pt x="178204" y="42910"/>
                </a:cubicBezTo>
                <a:cubicBezTo>
                  <a:pt x="178204" y="22717"/>
                  <a:pt x="169622" y="8077"/>
                  <a:pt x="150943" y="8077"/>
                </a:cubicBezTo>
                <a:cubicBezTo>
                  <a:pt x="127721" y="8077"/>
                  <a:pt x="119644" y="29784"/>
                  <a:pt x="119644" y="58054"/>
                </a:cubicBezTo>
                <a:lnTo>
                  <a:pt x="119644" y="132264"/>
                </a:lnTo>
                <a:lnTo>
                  <a:pt x="182242" y="132264"/>
                </a:lnTo>
                <a:lnTo>
                  <a:pt x="179718" y="144884"/>
                </a:lnTo>
                <a:lnTo>
                  <a:pt x="119644" y="144884"/>
                </a:lnTo>
                <a:lnTo>
                  <a:pt x="119644" y="327126"/>
                </a:lnTo>
                <a:cubicBezTo>
                  <a:pt x="119644" y="360445"/>
                  <a:pt x="131255" y="369027"/>
                  <a:pt x="158516" y="381142"/>
                </a:cubicBezTo>
                <a:lnTo>
                  <a:pt x="158516" y="382152"/>
                </a:lnTo>
                <a:lnTo>
                  <a:pt x="5554" y="382152"/>
                </a:lnTo>
                <a:lnTo>
                  <a:pt x="5554" y="381142"/>
                </a:lnTo>
                <a:cubicBezTo>
                  <a:pt x="27766" y="367007"/>
                  <a:pt x="29280" y="360445"/>
                  <a:pt x="29280" y="327126"/>
                </a:cubicBezTo>
                <a:lnTo>
                  <a:pt x="29280" y="144884"/>
                </a:lnTo>
                <a:lnTo>
                  <a:pt x="0" y="144884"/>
                </a:lnTo>
                <a:lnTo>
                  <a:pt x="0" y="139331"/>
                </a:lnTo>
                <a:lnTo>
                  <a:pt x="29280" y="128225"/>
                </a:lnTo>
                <a:lnTo>
                  <a:pt x="29280" y="113585"/>
                </a:lnTo>
                <a:cubicBezTo>
                  <a:pt x="29280" y="36347"/>
                  <a:pt x="79763" y="0"/>
                  <a:pt x="15094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4" name="TextBox 63"/>
          <p:cNvSpPr txBox="1">
            <a:spLocks/>
          </p:cNvSpPr>
          <p:nvPr/>
        </p:nvSpPr>
        <p:spPr>
          <a:xfrm>
            <a:off x="10828278" y="644150"/>
            <a:ext cx="167232" cy="16742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5" name="TextBox 64"/>
          <p:cNvSpPr txBox="1">
            <a:spLocks/>
          </p:cNvSpPr>
          <p:nvPr/>
        </p:nvSpPr>
        <p:spPr>
          <a:xfrm>
            <a:off x="11252333" y="691818"/>
            <a:ext cx="113038" cy="119752"/>
          </a:xfrm>
          <a:custGeom>
            <a:avLst/>
            <a:gdLst/>
            <a:ahLst/>
            <a:cxnLst/>
            <a:rect l="l" t="t" r="r" b="b"/>
            <a:pathLst>
              <a:path w="245345" h="259984">
                <a:moveTo>
                  <a:pt x="144885" y="0"/>
                </a:moveTo>
                <a:cubicBezTo>
                  <a:pt x="199406" y="0"/>
                  <a:pt x="240297" y="23726"/>
                  <a:pt x="240297" y="65122"/>
                </a:cubicBezTo>
                <a:cubicBezTo>
                  <a:pt x="240297" y="95411"/>
                  <a:pt x="217075" y="111061"/>
                  <a:pt x="192843" y="111061"/>
                </a:cubicBezTo>
                <a:cubicBezTo>
                  <a:pt x="166087" y="111061"/>
                  <a:pt x="150438" y="96421"/>
                  <a:pt x="148923" y="81781"/>
                </a:cubicBezTo>
                <a:cubicBezTo>
                  <a:pt x="151952" y="82791"/>
                  <a:pt x="155486" y="83296"/>
                  <a:pt x="158010" y="83296"/>
                </a:cubicBezTo>
                <a:cubicBezTo>
                  <a:pt x="176689" y="83296"/>
                  <a:pt x="184261" y="67646"/>
                  <a:pt x="184261" y="48463"/>
                </a:cubicBezTo>
                <a:cubicBezTo>
                  <a:pt x="184261" y="24231"/>
                  <a:pt x="171136" y="8582"/>
                  <a:pt x="145894" y="8582"/>
                </a:cubicBezTo>
                <a:cubicBezTo>
                  <a:pt x="110557" y="8582"/>
                  <a:pt x="93897" y="54016"/>
                  <a:pt x="93897" y="112575"/>
                </a:cubicBezTo>
                <a:cubicBezTo>
                  <a:pt x="93897" y="181737"/>
                  <a:pt x="124692" y="218589"/>
                  <a:pt x="171640" y="218589"/>
                </a:cubicBezTo>
                <a:cubicBezTo>
                  <a:pt x="200415" y="218589"/>
                  <a:pt x="226666" y="204958"/>
                  <a:pt x="242316" y="173659"/>
                </a:cubicBezTo>
                <a:lnTo>
                  <a:pt x="245345" y="175174"/>
                </a:lnTo>
                <a:cubicBezTo>
                  <a:pt x="231210" y="229190"/>
                  <a:pt x="185775" y="259984"/>
                  <a:pt x="129740" y="259984"/>
                </a:cubicBezTo>
                <a:cubicBezTo>
                  <a:pt x="60074" y="259984"/>
                  <a:pt x="0" y="213036"/>
                  <a:pt x="0" y="134788"/>
                </a:cubicBezTo>
                <a:cubicBezTo>
                  <a:pt x="0" y="49977"/>
                  <a:pt x="63608" y="0"/>
                  <a:pt x="144885"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6" name="TextBox 65"/>
          <p:cNvSpPr txBox="1">
            <a:spLocks/>
          </p:cNvSpPr>
          <p:nvPr/>
        </p:nvSpPr>
        <p:spPr>
          <a:xfrm>
            <a:off x="11375209" y="691818"/>
            <a:ext cx="116062" cy="119752"/>
          </a:xfrm>
          <a:custGeom>
            <a:avLst/>
            <a:gdLst/>
            <a:ahLst/>
            <a:cxnLst/>
            <a:rect l="l" t="t" r="r" b="b"/>
            <a:pathLst>
              <a:path w="251908" h="259984">
                <a:moveTo>
                  <a:pt x="132264" y="0"/>
                </a:moveTo>
                <a:cubicBezTo>
                  <a:pt x="213541" y="0"/>
                  <a:pt x="251908" y="51996"/>
                  <a:pt x="251908" y="118633"/>
                </a:cubicBezTo>
                <a:lnTo>
                  <a:pt x="91373" y="118633"/>
                </a:lnTo>
                <a:cubicBezTo>
                  <a:pt x="91373" y="181232"/>
                  <a:pt x="124187" y="218589"/>
                  <a:pt x="172650" y="218589"/>
                </a:cubicBezTo>
                <a:cubicBezTo>
                  <a:pt x="203444" y="218589"/>
                  <a:pt x="230200" y="204958"/>
                  <a:pt x="245850" y="173659"/>
                </a:cubicBezTo>
                <a:lnTo>
                  <a:pt x="249383" y="175174"/>
                </a:lnTo>
                <a:cubicBezTo>
                  <a:pt x="234744" y="229190"/>
                  <a:pt x="189309" y="259984"/>
                  <a:pt x="131759" y="259984"/>
                </a:cubicBezTo>
                <a:cubicBezTo>
                  <a:pt x="59569" y="259984"/>
                  <a:pt x="0" y="212531"/>
                  <a:pt x="0" y="130244"/>
                </a:cubicBezTo>
                <a:cubicBezTo>
                  <a:pt x="0" y="50987"/>
                  <a:pt x="60074" y="0"/>
                  <a:pt x="132264" y="0"/>
                </a:cubicBezTo>
                <a:close/>
                <a:moveTo>
                  <a:pt x="132264" y="8582"/>
                </a:moveTo>
                <a:cubicBezTo>
                  <a:pt x="106013" y="8582"/>
                  <a:pt x="92888" y="48463"/>
                  <a:pt x="91878" y="108032"/>
                </a:cubicBezTo>
                <a:lnTo>
                  <a:pt x="165078" y="108032"/>
                </a:lnTo>
                <a:cubicBezTo>
                  <a:pt x="165078" y="51492"/>
                  <a:pt x="161039" y="8582"/>
                  <a:pt x="132264" y="8582"/>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7" name="TextBox 66"/>
          <p:cNvSpPr txBox="1">
            <a:spLocks/>
          </p:cNvSpPr>
          <p:nvPr/>
        </p:nvSpPr>
        <p:spPr>
          <a:xfrm>
            <a:off x="11176798" y="694143"/>
            <a:ext cx="64892" cy="115102"/>
          </a:xfrm>
          <a:custGeom>
            <a:avLst/>
            <a:gdLst/>
            <a:ahLst/>
            <a:cxnLst/>
            <a:rect l="l" t="t" r="r" b="b"/>
            <a:pathLst>
              <a:path w="140846" h="249888">
                <a:moveTo>
                  <a:pt x="0" y="0"/>
                </a:moveTo>
                <a:lnTo>
                  <a:pt x="117119" y="0"/>
                </a:lnTo>
                <a:lnTo>
                  <a:pt x="117119" y="194862"/>
                </a:lnTo>
                <a:cubicBezTo>
                  <a:pt x="117119" y="228181"/>
                  <a:pt x="118633" y="234743"/>
                  <a:pt x="140846" y="248878"/>
                </a:cubicBezTo>
                <a:lnTo>
                  <a:pt x="140846" y="249888"/>
                </a:lnTo>
                <a:lnTo>
                  <a:pt x="3029" y="249888"/>
                </a:lnTo>
                <a:lnTo>
                  <a:pt x="3029" y="248878"/>
                </a:lnTo>
                <a:cubicBezTo>
                  <a:pt x="25241" y="234743"/>
                  <a:pt x="26755" y="228181"/>
                  <a:pt x="26755" y="194862"/>
                </a:cubicBezTo>
                <a:lnTo>
                  <a:pt x="26755" y="56035"/>
                </a:lnTo>
                <a:cubicBezTo>
                  <a:pt x="26755" y="21707"/>
                  <a:pt x="23726" y="14640"/>
                  <a:pt x="0" y="1009"/>
                </a:cubicBez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8" name="TextBox 67"/>
          <p:cNvSpPr txBox="1">
            <a:spLocks/>
          </p:cNvSpPr>
          <p:nvPr/>
        </p:nvSpPr>
        <p:spPr>
          <a:xfrm>
            <a:off x="11298619" y="842827"/>
            <a:ext cx="149090" cy="167421"/>
          </a:xfrm>
          <a:custGeom>
            <a:avLst/>
            <a:gdLst/>
            <a:ahLst/>
            <a:cxnLst/>
            <a:rect l="l" t="t" r="r" b="b"/>
            <a:pathLst>
              <a:path w="323593" h="363474">
                <a:moveTo>
                  <a:pt x="190319" y="0"/>
                </a:moveTo>
                <a:cubicBezTo>
                  <a:pt x="236258" y="0"/>
                  <a:pt x="260994" y="15145"/>
                  <a:pt x="277653" y="15145"/>
                </a:cubicBezTo>
                <a:cubicBezTo>
                  <a:pt x="291284" y="15145"/>
                  <a:pt x="299866" y="9087"/>
                  <a:pt x="310467" y="0"/>
                </a:cubicBezTo>
                <a:lnTo>
                  <a:pt x="314001" y="120149"/>
                </a:lnTo>
                <a:lnTo>
                  <a:pt x="312991" y="120149"/>
                </a:lnTo>
                <a:cubicBezTo>
                  <a:pt x="287750" y="56541"/>
                  <a:pt x="250393" y="11107"/>
                  <a:pt x="199910" y="11107"/>
                </a:cubicBezTo>
                <a:cubicBezTo>
                  <a:pt x="137312" y="11107"/>
                  <a:pt x="101974" y="80268"/>
                  <a:pt x="101974" y="164573"/>
                </a:cubicBezTo>
                <a:cubicBezTo>
                  <a:pt x="101974" y="260490"/>
                  <a:pt x="155486" y="315011"/>
                  <a:pt x="221113" y="315011"/>
                </a:cubicBezTo>
                <a:cubicBezTo>
                  <a:pt x="263014" y="315011"/>
                  <a:pt x="297846" y="300371"/>
                  <a:pt x="320564" y="252918"/>
                </a:cubicBezTo>
                <a:lnTo>
                  <a:pt x="323593" y="253927"/>
                </a:lnTo>
                <a:cubicBezTo>
                  <a:pt x="306428" y="321574"/>
                  <a:pt x="252412" y="363474"/>
                  <a:pt x="173660" y="363474"/>
                </a:cubicBezTo>
                <a:cubicBezTo>
                  <a:pt x="74209" y="363474"/>
                  <a:pt x="0" y="293304"/>
                  <a:pt x="0" y="186786"/>
                </a:cubicBezTo>
                <a:cubicBezTo>
                  <a:pt x="0" y="76229"/>
                  <a:pt x="85820" y="0"/>
                  <a:pt x="190319"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9" name="TextBox 68"/>
          <p:cNvSpPr txBox="1">
            <a:spLocks/>
          </p:cNvSpPr>
          <p:nvPr/>
        </p:nvSpPr>
        <p:spPr>
          <a:xfrm>
            <a:off x="11640919" y="842827"/>
            <a:ext cx="167232" cy="16742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0" name="TextBox 69"/>
          <p:cNvSpPr txBox="1">
            <a:spLocks/>
          </p:cNvSpPr>
          <p:nvPr/>
        </p:nvSpPr>
        <p:spPr>
          <a:xfrm>
            <a:off x="11457735" y="843060"/>
            <a:ext cx="172117" cy="164863"/>
          </a:xfrm>
          <a:custGeom>
            <a:avLst/>
            <a:gdLst/>
            <a:ahLst/>
            <a:cxnLst/>
            <a:rect l="l" t="t" r="r" b="b"/>
            <a:pathLst>
              <a:path w="373571" h="357921">
                <a:moveTo>
                  <a:pt x="17164" y="0"/>
                </a:moveTo>
                <a:cubicBezTo>
                  <a:pt x="24232" y="3534"/>
                  <a:pt x="35338" y="4544"/>
                  <a:pt x="52502" y="4544"/>
                </a:cubicBezTo>
                <a:lnTo>
                  <a:pt x="321069" y="4544"/>
                </a:lnTo>
                <a:cubicBezTo>
                  <a:pt x="338233" y="4544"/>
                  <a:pt x="349339" y="3534"/>
                  <a:pt x="356407" y="0"/>
                </a:cubicBezTo>
                <a:lnTo>
                  <a:pt x="373571" y="119644"/>
                </a:lnTo>
                <a:lnTo>
                  <a:pt x="372561" y="119644"/>
                </a:lnTo>
                <a:cubicBezTo>
                  <a:pt x="329651" y="50988"/>
                  <a:pt x="309963" y="17669"/>
                  <a:pt x="255946" y="17669"/>
                </a:cubicBezTo>
                <a:lnTo>
                  <a:pt x="234239" y="17669"/>
                </a:lnTo>
                <a:lnTo>
                  <a:pt x="234239" y="297847"/>
                </a:lnTo>
                <a:cubicBezTo>
                  <a:pt x="234239" y="331165"/>
                  <a:pt x="240802" y="342272"/>
                  <a:pt x="263014" y="356912"/>
                </a:cubicBezTo>
                <a:lnTo>
                  <a:pt x="263014" y="357921"/>
                </a:lnTo>
                <a:lnTo>
                  <a:pt x="110557" y="357921"/>
                </a:lnTo>
                <a:lnTo>
                  <a:pt x="110557" y="356912"/>
                </a:lnTo>
                <a:cubicBezTo>
                  <a:pt x="133274" y="342272"/>
                  <a:pt x="139332" y="331165"/>
                  <a:pt x="139332" y="297847"/>
                </a:cubicBezTo>
                <a:lnTo>
                  <a:pt x="139332" y="17669"/>
                </a:lnTo>
                <a:lnTo>
                  <a:pt x="117624" y="17669"/>
                </a:lnTo>
                <a:cubicBezTo>
                  <a:pt x="63608" y="17669"/>
                  <a:pt x="43920" y="50988"/>
                  <a:pt x="1010" y="119644"/>
                </a:cubicBezTo>
                <a:lnTo>
                  <a:pt x="0" y="119644"/>
                </a:lnTo>
                <a:lnTo>
                  <a:pt x="17164"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grpSp>
        <p:nvGrpSpPr>
          <p:cNvPr id="2" name="Group 1"/>
          <p:cNvGrpSpPr/>
          <p:nvPr/>
        </p:nvGrpSpPr>
        <p:grpSpPr>
          <a:xfrm>
            <a:off x="11001879" y="849615"/>
            <a:ext cx="276881" cy="61257"/>
            <a:chOff x="10999013" y="849614"/>
            <a:chExt cx="276809" cy="61257"/>
          </a:xfrm>
          <a:solidFill>
            <a:schemeClr val="accent3"/>
          </a:solidFill>
        </p:grpSpPr>
        <p:sp>
          <p:nvSpPr>
            <p:cNvPr id="71" name="TextBox 70"/>
            <p:cNvSpPr txBox="1">
              <a:spLocks/>
            </p:cNvSpPr>
            <p:nvPr/>
          </p:nvSpPr>
          <p:spPr>
            <a:xfrm>
              <a:off x="10999013" y="849614"/>
              <a:ext cx="60220" cy="61257"/>
            </a:xfrm>
            <a:custGeom>
              <a:avLst/>
              <a:gdLst/>
              <a:ahLst/>
              <a:cxnLst/>
              <a:rect l="l" t="t" r="r" b="b"/>
              <a:pathLst>
                <a:path w="130738" h="132991">
                  <a:moveTo>
                    <a:pt x="65709" y="0"/>
                  </a:moveTo>
                  <a:cubicBezTo>
                    <a:pt x="86122" y="0"/>
                    <a:pt x="102063" y="5891"/>
                    <a:pt x="113533" y="17673"/>
                  </a:cubicBezTo>
                  <a:cubicBezTo>
                    <a:pt x="125003" y="29455"/>
                    <a:pt x="130738" y="45715"/>
                    <a:pt x="130738" y="66451"/>
                  </a:cubicBezTo>
                  <a:cubicBezTo>
                    <a:pt x="130738" y="87129"/>
                    <a:pt x="124987" y="103389"/>
                    <a:pt x="113485" y="115230"/>
                  </a:cubicBezTo>
                  <a:cubicBezTo>
                    <a:pt x="101982" y="127071"/>
                    <a:pt x="85992" y="132991"/>
                    <a:pt x="65515" y="132991"/>
                  </a:cubicBezTo>
                  <a:cubicBezTo>
                    <a:pt x="44584" y="132991"/>
                    <a:pt x="28432" y="127174"/>
                    <a:pt x="17059" y="115539"/>
                  </a:cubicBezTo>
                  <a:cubicBezTo>
                    <a:pt x="5686" y="103904"/>
                    <a:pt x="0" y="87483"/>
                    <a:pt x="0" y="66275"/>
                  </a:cubicBezTo>
                  <a:cubicBezTo>
                    <a:pt x="0" y="45243"/>
                    <a:pt x="5702" y="28940"/>
                    <a:pt x="17107" y="17364"/>
                  </a:cubicBezTo>
                  <a:cubicBezTo>
                    <a:pt x="28513" y="5788"/>
                    <a:pt x="44713" y="0"/>
                    <a:pt x="65709" y="0"/>
                  </a:cubicBezTo>
                  <a:close/>
                  <a:moveTo>
                    <a:pt x="65709" y="13431"/>
                  </a:moveTo>
                  <a:cubicBezTo>
                    <a:pt x="49962" y="13431"/>
                    <a:pt x="37990" y="17953"/>
                    <a:pt x="29793" y="26996"/>
                  </a:cubicBezTo>
                  <a:cubicBezTo>
                    <a:pt x="21595" y="36038"/>
                    <a:pt x="17496" y="49190"/>
                    <a:pt x="17496" y="66451"/>
                  </a:cubicBezTo>
                  <a:cubicBezTo>
                    <a:pt x="17496" y="83948"/>
                    <a:pt x="21595" y="97218"/>
                    <a:pt x="29793" y="106261"/>
                  </a:cubicBezTo>
                  <a:cubicBezTo>
                    <a:pt x="37990" y="115303"/>
                    <a:pt x="49897" y="119825"/>
                    <a:pt x="65515" y="119825"/>
                  </a:cubicBezTo>
                  <a:cubicBezTo>
                    <a:pt x="81262" y="119825"/>
                    <a:pt x="93153" y="115318"/>
                    <a:pt x="101188" y="106305"/>
                  </a:cubicBezTo>
                  <a:cubicBezTo>
                    <a:pt x="109224" y="97291"/>
                    <a:pt x="113242" y="84007"/>
                    <a:pt x="113242" y="66451"/>
                  </a:cubicBezTo>
                  <a:cubicBezTo>
                    <a:pt x="113242" y="49073"/>
                    <a:pt x="109240" y="35891"/>
                    <a:pt x="101237" y="26907"/>
                  </a:cubicBezTo>
                  <a:cubicBezTo>
                    <a:pt x="93234" y="17923"/>
                    <a:pt x="81391" y="13431"/>
                    <a:pt x="65709" y="13431"/>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2" name="TextBox 71"/>
            <p:cNvSpPr txBox="1">
              <a:spLocks/>
            </p:cNvSpPr>
            <p:nvPr/>
          </p:nvSpPr>
          <p:spPr>
            <a:xfrm>
              <a:off x="11068225" y="850549"/>
              <a:ext cx="36490" cy="59507"/>
            </a:xfrm>
            <a:custGeom>
              <a:avLst/>
              <a:gdLst/>
              <a:ahLst/>
              <a:cxnLst/>
              <a:rect l="l" t="t" r="r" b="b"/>
              <a:pathLst>
                <a:path w="79221" h="129192">
                  <a:moveTo>
                    <a:pt x="0" y="0"/>
                  </a:moveTo>
                  <a:lnTo>
                    <a:pt x="79221" y="0"/>
                  </a:lnTo>
                  <a:lnTo>
                    <a:pt x="79221" y="13343"/>
                  </a:lnTo>
                  <a:lnTo>
                    <a:pt x="16525" y="13343"/>
                  </a:lnTo>
                  <a:lnTo>
                    <a:pt x="16525" y="60620"/>
                  </a:lnTo>
                  <a:lnTo>
                    <a:pt x="75430" y="60620"/>
                  </a:lnTo>
                  <a:lnTo>
                    <a:pt x="75430" y="73963"/>
                  </a:lnTo>
                  <a:lnTo>
                    <a:pt x="16525" y="73963"/>
                  </a:lnTo>
                  <a:lnTo>
                    <a:pt x="16525"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3" name="TextBox 72"/>
            <p:cNvSpPr txBox="1">
              <a:spLocks/>
            </p:cNvSpPr>
            <p:nvPr/>
          </p:nvSpPr>
          <p:spPr>
            <a:xfrm>
              <a:off x="11121455" y="850549"/>
              <a:ext cx="49071" cy="59507"/>
            </a:xfrm>
            <a:custGeom>
              <a:avLst/>
              <a:gdLst/>
              <a:ahLst/>
              <a:cxnLst/>
              <a:rect l="l" t="t" r="r" b="b"/>
              <a:pathLst>
                <a:path w="106535" h="129192">
                  <a:moveTo>
                    <a:pt x="0" y="0"/>
                  </a:moveTo>
                  <a:lnTo>
                    <a:pt x="106535" y="0"/>
                  </a:lnTo>
                  <a:lnTo>
                    <a:pt x="106535" y="13343"/>
                  </a:lnTo>
                  <a:lnTo>
                    <a:pt x="61530" y="13343"/>
                  </a:lnTo>
                  <a:lnTo>
                    <a:pt x="61530" y="129192"/>
                  </a:lnTo>
                  <a:lnTo>
                    <a:pt x="45005" y="129192"/>
                  </a:lnTo>
                  <a:lnTo>
                    <a:pt x="45005" y="13343"/>
                  </a:lnTo>
                  <a:lnTo>
                    <a:pt x="0" y="13343"/>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4" name="TextBox 73"/>
            <p:cNvSpPr txBox="1">
              <a:spLocks/>
            </p:cNvSpPr>
            <p:nvPr/>
          </p:nvSpPr>
          <p:spPr>
            <a:xfrm>
              <a:off x="11177909" y="850549"/>
              <a:ext cx="49698" cy="59507"/>
            </a:xfrm>
            <a:custGeom>
              <a:avLst/>
              <a:gdLst/>
              <a:ahLst/>
              <a:cxnLst/>
              <a:rect l="l" t="t" r="r" b="b"/>
              <a:pathLst>
                <a:path w="107896" h="129192">
                  <a:moveTo>
                    <a:pt x="0" y="0"/>
                  </a:moveTo>
                  <a:lnTo>
                    <a:pt x="16525" y="0"/>
                  </a:lnTo>
                  <a:lnTo>
                    <a:pt x="16525" y="54964"/>
                  </a:lnTo>
                  <a:lnTo>
                    <a:pt x="91371" y="54964"/>
                  </a:lnTo>
                  <a:lnTo>
                    <a:pt x="91371" y="0"/>
                  </a:lnTo>
                  <a:lnTo>
                    <a:pt x="107896" y="0"/>
                  </a:lnTo>
                  <a:lnTo>
                    <a:pt x="107896" y="129192"/>
                  </a:lnTo>
                  <a:lnTo>
                    <a:pt x="91371" y="129192"/>
                  </a:lnTo>
                  <a:lnTo>
                    <a:pt x="91371" y="68396"/>
                  </a:lnTo>
                  <a:lnTo>
                    <a:pt x="16525" y="68396"/>
                  </a:lnTo>
                  <a:lnTo>
                    <a:pt x="16525"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5" name="TextBox 74"/>
            <p:cNvSpPr txBox="1">
              <a:spLocks/>
            </p:cNvSpPr>
            <p:nvPr/>
          </p:nvSpPr>
          <p:spPr>
            <a:xfrm>
              <a:off x="11239332" y="850549"/>
              <a:ext cx="36490" cy="59507"/>
            </a:xfrm>
            <a:custGeom>
              <a:avLst/>
              <a:gdLst/>
              <a:ahLst/>
              <a:cxnLst/>
              <a:rect l="l" t="t" r="r" b="b"/>
              <a:pathLst>
                <a:path w="79221" h="129192">
                  <a:moveTo>
                    <a:pt x="0" y="0"/>
                  </a:moveTo>
                  <a:lnTo>
                    <a:pt x="79221" y="0"/>
                  </a:lnTo>
                  <a:lnTo>
                    <a:pt x="79221" y="13343"/>
                  </a:lnTo>
                  <a:lnTo>
                    <a:pt x="16525" y="13343"/>
                  </a:lnTo>
                  <a:lnTo>
                    <a:pt x="16525" y="54964"/>
                  </a:lnTo>
                  <a:lnTo>
                    <a:pt x="75430" y="54964"/>
                  </a:lnTo>
                  <a:lnTo>
                    <a:pt x="75430" y="68219"/>
                  </a:lnTo>
                  <a:lnTo>
                    <a:pt x="16525" y="68219"/>
                  </a:lnTo>
                  <a:lnTo>
                    <a:pt x="16525" y="115760"/>
                  </a:lnTo>
                  <a:lnTo>
                    <a:pt x="79221" y="115760"/>
                  </a:lnTo>
                  <a:lnTo>
                    <a:pt x="79221"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grpSp>
      <p:sp>
        <p:nvSpPr>
          <p:cNvPr id="62" name="Freeform 9"/>
          <p:cNvSpPr>
            <a:spLocks noEditPoints="1"/>
          </p:cNvSpPr>
          <p:nvPr/>
        </p:nvSpPr>
        <p:spPr bwMode="auto">
          <a:xfrm>
            <a:off x="10579888" y="371026"/>
            <a:ext cx="1417689" cy="783522"/>
          </a:xfrm>
          <a:custGeom>
            <a:avLst/>
            <a:gdLst>
              <a:gd name="T0" fmla="*/ 279 w 326"/>
              <a:gd name="T1" fmla="*/ 180 h 180"/>
              <a:gd name="T2" fmla="*/ 271 w 326"/>
              <a:gd name="T3" fmla="*/ 179 h 180"/>
              <a:gd name="T4" fmla="*/ 45 w 326"/>
              <a:gd name="T5" fmla="*/ 179 h 180"/>
              <a:gd name="T6" fmla="*/ 6 w 326"/>
              <a:gd name="T7" fmla="*/ 153 h 180"/>
              <a:gd name="T8" fmla="*/ 0 w 326"/>
              <a:gd name="T9" fmla="*/ 129 h 180"/>
              <a:gd name="T10" fmla="*/ 32 w 326"/>
              <a:gd name="T11" fmla="*/ 82 h 180"/>
              <a:gd name="T12" fmla="*/ 30 w 326"/>
              <a:gd name="T13" fmla="*/ 70 h 180"/>
              <a:gd name="T14" fmla="*/ 100 w 326"/>
              <a:gd name="T15" fmla="*/ 0 h 180"/>
              <a:gd name="T16" fmla="*/ 154 w 326"/>
              <a:gd name="T17" fmla="*/ 26 h 180"/>
              <a:gd name="T18" fmla="*/ 187 w 326"/>
              <a:gd name="T19" fmla="*/ 16 h 180"/>
              <a:gd name="T20" fmla="*/ 242 w 326"/>
              <a:gd name="T21" fmla="*/ 55 h 180"/>
              <a:gd name="T22" fmla="*/ 245 w 326"/>
              <a:gd name="T23" fmla="*/ 54 h 180"/>
              <a:gd name="T24" fmla="*/ 280 w 326"/>
              <a:gd name="T25" fmla="*/ 85 h 180"/>
              <a:gd name="T26" fmla="*/ 326 w 326"/>
              <a:gd name="T27" fmla="*/ 132 h 180"/>
              <a:gd name="T28" fmla="*/ 279 w 326"/>
              <a:gd name="T29" fmla="*/ 180 h 180"/>
              <a:gd name="T30" fmla="*/ 100 w 326"/>
              <a:gd name="T31" fmla="*/ 4 h 180"/>
              <a:gd name="T32" fmla="*/ 34 w 326"/>
              <a:gd name="T33" fmla="*/ 70 h 180"/>
              <a:gd name="T34" fmla="*/ 36 w 326"/>
              <a:gd name="T35" fmla="*/ 83 h 180"/>
              <a:gd name="T36" fmla="*/ 36 w 326"/>
              <a:gd name="T37" fmla="*/ 85 h 180"/>
              <a:gd name="T38" fmla="*/ 35 w 326"/>
              <a:gd name="T39" fmla="*/ 86 h 180"/>
              <a:gd name="T40" fmla="*/ 4 w 326"/>
              <a:gd name="T41" fmla="*/ 129 h 180"/>
              <a:gd name="T42" fmla="*/ 10 w 326"/>
              <a:gd name="T43" fmla="*/ 151 h 180"/>
              <a:gd name="T44" fmla="*/ 10 w 326"/>
              <a:gd name="T45" fmla="*/ 151 h 180"/>
              <a:gd name="T46" fmla="*/ 45 w 326"/>
              <a:gd name="T47" fmla="*/ 175 h 180"/>
              <a:gd name="T48" fmla="*/ 271 w 326"/>
              <a:gd name="T49" fmla="*/ 175 h 180"/>
              <a:gd name="T50" fmla="*/ 272 w 326"/>
              <a:gd name="T51" fmla="*/ 175 h 180"/>
              <a:gd name="T52" fmla="*/ 279 w 326"/>
              <a:gd name="T53" fmla="*/ 176 h 180"/>
              <a:gd name="T54" fmla="*/ 322 w 326"/>
              <a:gd name="T55" fmla="*/ 132 h 180"/>
              <a:gd name="T56" fmla="*/ 279 w 326"/>
              <a:gd name="T57" fmla="*/ 89 h 180"/>
              <a:gd name="T58" fmla="*/ 278 w 326"/>
              <a:gd name="T59" fmla="*/ 89 h 180"/>
              <a:gd name="T60" fmla="*/ 276 w 326"/>
              <a:gd name="T61" fmla="*/ 89 h 180"/>
              <a:gd name="T62" fmla="*/ 276 w 326"/>
              <a:gd name="T63" fmla="*/ 87 h 180"/>
              <a:gd name="T64" fmla="*/ 245 w 326"/>
              <a:gd name="T65" fmla="*/ 58 h 180"/>
              <a:gd name="T66" fmla="*/ 240 w 326"/>
              <a:gd name="T67" fmla="*/ 59 h 180"/>
              <a:gd name="T68" fmla="*/ 239 w 326"/>
              <a:gd name="T69" fmla="*/ 59 h 180"/>
              <a:gd name="T70" fmla="*/ 238 w 326"/>
              <a:gd name="T71" fmla="*/ 57 h 180"/>
              <a:gd name="T72" fmla="*/ 187 w 326"/>
              <a:gd name="T73" fmla="*/ 20 h 180"/>
              <a:gd name="T74" fmla="*/ 155 w 326"/>
              <a:gd name="T75" fmla="*/ 30 h 180"/>
              <a:gd name="T76" fmla="*/ 153 w 326"/>
              <a:gd name="T77" fmla="*/ 31 h 180"/>
              <a:gd name="T78" fmla="*/ 152 w 326"/>
              <a:gd name="T79" fmla="*/ 30 h 180"/>
              <a:gd name="T80" fmla="*/ 100 w 326"/>
              <a:gd name="T8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6" h="180">
                <a:moveTo>
                  <a:pt x="279" y="180"/>
                </a:moveTo>
                <a:cubicBezTo>
                  <a:pt x="276" y="180"/>
                  <a:pt x="274" y="179"/>
                  <a:pt x="271" y="179"/>
                </a:cubicBezTo>
                <a:cubicBezTo>
                  <a:pt x="45" y="179"/>
                  <a:pt x="45" y="179"/>
                  <a:pt x="45" y="179"/>
                </a:cubicBezTo>
                <a:cubicBezTo>
                  <a:pt x="28" y="179"/>
                  <a:pt x="13" y="169"/>
                  <a:pt x="6" y="153"/>
                </a:cubicBezTo>
                <a:cubicBezTo>
                  <a:pt x="2" y="146"/>
                  <a:pt x="0" y="137"/>
                  <a:pt x="0" y="129"/>
                </a:cubicBezTo>
                <a:cubicBezTo>
                  <a:pt x="0" y="109"/>
                  <a:pt x="13" y="90"/>
                  <a:pt x="32" y="82"/>
                </a:cubicBezTo>
                <a:cubicBezTo>
                  <a:pt x="31" y="78"/>
                  <a:pt x="30" y="74"/>
                  <a:pt x="30" y="70"/>
                </a:cubicBezTo>
                <a:cubicBezTo>
                  <a:pt x="30" y="32"/>
                  <a:pt x="62" y="0"/>
                  <a:pt x="100" y="0"/>
                </a:cubicBezTo>
                <a:cubicBezTo>
                  <a:pt x="121" y="0"/>
                  <a:pt x="141" y="10"/>
                  <a:pt x="154" y="26"/>
                </a:cubicBezTo>
                <a:cubicBezTo>
                  <a:pt x="164" y="19"/>
                  <a:pt x="175" y="16"/>
                  <a:pt x="187" y="16"/>
                </a:cubicBezTo>
                <a:cubicBezTo>
                  <a:pt x="212" y="16"/>
                  <a:pt x="233" y="31"/>
                  <a:pt x="242" y="55"/>
                </a:cubicBezTo>
                <a:cubicBezTo>
                  <a:pt x="243" y="54"/>
                  <a:pt x="244" y="54"/>
                  <a:pt x="245" y="54"/>
                </a:cubicBezTo>
                <a:cubicBezTo>
                  <a:pt x="263" y="54"/>
                  <a:pt x="278" y="68"/>
                  <a:pt x="280" y="85"/>
                </a:cubicBezTo>
                <a:cubicBezTo>
                  <a:pt x="305" y="86"/>
                  <a:pt x="326" y="107"/>
                  <a:pt x="326" y="132"/>
                </a:cubicBezTo>
                <a:cubicBezTo>
                  <a:pt x="326" y="158"/>
                  <a:pt x="305" y="180"/>
                  <a:pt x="279" y="180"/>
                </a:cubicBezTo>
                <a:close/>
                <a:moveTo>
                  <a:pt x="100" y="4"/>
                </a:moveTo>
                <a:cubicBezTo>
                  <a:pt x="64" y="4"/>
                  <a:pt x="34" y="34"/>
                  <a:pt x="34" y="70"/>
                </a:cubicBezTo>
                <a:cubicBezTo>
                  <a:pt x="34" y="75"/>
                  <a:pt x="35" y="79"/>
                  <a:pt x="36" y="83"/>
                </a:cubicBezTo>
                <a:cubicBezTo>
                  <a:pt x="36" y="85"/>
                  <a:pt x="36" y="85"/>
                  <a:pt x="36" y="85"/>
                </a:cubicBezTo>
                <a:cubicBezTo>
                  <a:pt x="35" y="86"/>
                  <a:pt x="35" y="86"/>
                  <a:pt x="35" y="86"/>
                </a:cubicBezTo>
                <a:cubicBezTo>
                  <a:pt x="16" y="92"/>
                  <a:pt x="4" y="110"/>
                  <a:pt x="4" y="129"/>
                </a:cubicBezTo>
                <a:cubicBezTo>
                  <a:pt x="4" y="137"/>
                  <a:pt x="6" y="144"/>
                  <a:pt x="10" y="151"/>
                </a:cubicBezTo>
                <a:cubicBezTo>
                  <a:pt x="10" y="151"/>
                  <a:pt x="10" y="151"/>
                  <a:pt x="10" y="151"/>
                </a:cubicBezTo>
                <a:cubicBezTo>
                  <a:pt x="16" y="166"/>
                  <a:pt x="30" y="175"/>
                  <a:pt x="45" y="175"/>
                </a:cubicBezTo>
                <a:cubicBezTo>
                  <a:pt x="271" y="175"/>
                  <a:pt x="271" y="175"/>
                  <a:pt x="271" y="175"/>
                </a:cubicBezTo>
                <a:cubicBezTo>
                  <a:pt x="272" y="175"/>
                  <a:pt x="272" y="175"/>
                  <a:pt x="272" y="175"/>
                </a:cubicBezTo>
                <a:cubicBezTo>
                  <a:pt x="274" y="175"/>
                  <a:pt x="276" y="176"/>
                  <a:pt x="279" y="176"/>
                </a:cubicBezTo>
                <a:cubicBezTo>
                  <a:pt x="303" y="176"/>
                  <a:pt x="322" y="156"/>
                  <a:pt x="322" y="132"/>
                </a:cubicBezTo>
                <a:cubicBezTo>
                  <a:pt x="322" y="109"/>
                  <a:pt x="303" y="89"/>
                  <a:pt x="279" y="89"/>
                </a:cubicBezTo>
                <a:cubicBezTo>
                  <a:pt x="279" y="89"/>
                  <a:pt x="278" y="89"/>
                  <a:pt x="278" y="89"/>
                </a:cubicBezTo>
                <a:cubicBezTo>
                  <a:pt x="276" y="89"/>
                  <a:pt x="276" y="89"/>
                  <a:pt x="276" y="89"/>
                </a:cubicBezTo>
                <a:cubicBezTo>
                  <a:pt x="276" y="87"/>
                  <a:pt x="276" y="87"/>
                  <a:pt x="276" y="87"/>
                </a:cubicBezTo>
                <a:cubicBezTo>
                  <a:pt x="275" y="71"/>
                  <a:pt x="261" y="58"/>
                  <a:pt x="245" y="58"/>
                </a:cubicBezTo>
                <a:cubicBezTo>
                  <a:pt x="243" y="58"/>
                  <a:pt x="242" y="59"/>
                  <a:pt x="240" y="59"/>
                </a:cubicBezTo>
                <a:cubicBezTo>
                  <a:pt x="239" y="59"/>
                  <a:pt x="239" y="59"/>
                  <a:pt x="239" y="59"/>
                </a:cubicBezTo>
                <a:cubicBezTo>
                  <a:pt x="238" y="57"/>
                  <a:pt x="238" y="57"/>
                  <a:pt x="238" y="57"/>
                </a:cubicBezTo>
                <a:cubicBezTo>
                  <a:pt x="231" y="35"/>
                  <a:pt x="210" y="20"/>
                  <a:pt x="187" y="20"/>
                </a:cubicBezTo>
                <a:cubicBezTo>
                  <a:pt x="175" y="20"/>
                  <a:pt x="164" y="23"/>
                  <a:pt x="155" y="30"/>
                </a:cubicBezTo>
                <a:cubicBezTo>
                  <a:pt x="153" y="31"/>
                  <a:pt x="153" y="31"/>
                  <a:pt x="153" y="31"/>
                </a:cubicBezTo>
                <a:cubicBezTo>
                  <a:pt x="152" y="30"/>
                  <a:pt x="152" y="30"/>
                  <a:pt x="152" y="30"/>
                </a:cubicBezTo>
                <a:cubicBezTo>
                  <a:pt x="139" y="14"/>
                  <a:pt x="121" y="4"/>
                  <a:pt x="100" y="4"/>
                </a:cubicBezTo>
                <a:close/>
              </a:path>
            </a:pathLst>
          </a:custGeom>
          <a:solidFill>
            <a:srgbClr val="34697F"/>
          </a:solidFill>
          <a:ln>
            <a:noFill/>
          </a:ln>
          <a:extLst/>
        </p:spPr>
        <p:txBody>
          <a:bodyPr vert="horz" wrap="square" lIns="91440" tIns="45720" rIns="91440" bIns="45720" numCol="1" anchor="t" anchorCtr="0" compatLnSpc="1">
            <a:prstTxWarp prst="textNoShape">
              <a:avLst/>
            </a:prstTxWarp>
          </a:bodyPr>
          <a:lstStyle/>
          <a:p>
            <a:endParaRPr lang="en-US" sz="1800">
              <a:latin typeface="Arial" panose="020B0604020202020204" pitchFamily="34" charset="0"/>
              <a:cs typeface="Arial" panose="020B0604020202020204" pitchFamily="34" charset="0"/>
              <a:sym typeface="Arial" panose="020B0604020202020204" pitchFamily="34" charset="0"/>
            </a:endParaRPr>
          </a:p>
        </p:txBody>
      </p:sp>
      <p:sp>
        <p:nvSpPr>
          <p:cNvPr id="23" name="Rectangle 22"/>
          <p:cNvSpPr/>
          <p:nvPr userDrawn="1"/>
        </p:nvSpPr>
        <p:spPr>
          <a:xfrm>
            <a:off x="3840478" y="1554232"/>
            <a:ext cx="91440" cy="5303521"/>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1" dirty="0">
              <a:latin typeface="Arial" panose="020B0604020202020204" pitchFamily="34" charset="0"/>
              <a:cs typeface="Arial" panose="020B0604020202020204" pitchFamily="34" charset="0"/>
              <a:sym typeface="Arial" panose="020B0604020202020204" pitchFamily="34" charset="0"/>
            </a:endParaRPr>
          </a:p>
        </p:txBody>
      </p:sp>
      <p:sp>
        <p:nvSpPr>
          <p:cNvPr id="24" name="Text Placeholder 4"/>
          <p:cNvSpPr>
            <a:spLocks noGrp="1"/>
          </p:cNvSpPr>
          <p:nvPr>
            <p:ph type="body" sz="quarter" idx="12" hasCustomPrompt="1"/>
          </p:nvPr>
        </p:nvSpPr>
        <p:spPr>
          <a:xfrm>
            <a:off x="4387540" y="2011680"/>
            <a:ext cx="7342497" cy="4162001"/>
          </a:xfrm>
          <a:prstGeom prst="rect">
            <a:avLst/>
          </a:prstGeo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lvl="0"/>
            <a:r>
              <a:rPr lang="en-US" dirty="0"/>
              <a:t>Body text</a:t>
            </a:r>
          </a:p>
        </p:txBody>
      </p:sp>
    </p:spTree>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Internal Slide - Photo Lef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6621578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2" name="think-cell Slide" r:id="rId4" imgW="498" imgH="499" progId="TCLayout.ActiveDocument.1">
                  <p:embed/>
                </p:oleObj>
              </mc:Choice>
              <mc:Fallback>
                <p:oleObj name="think-cell Slide" r:id="rId4" imgW="498" imgH="499"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2" name="Picture Placeholder 5"/>
          <p:cNvSpPr>
            <a:spLocks noGrp="1"/>
          </p:cNvSpPr>
          <p:nvPr>
            <p:ph type="pic" sz="quarter" idx="13" hasCustomPrompt="1"/>
          </p:nvPr>
        </p:nvSpPr>
        <p:spPr>
          <a:xfrm>
            <a:off x="8900160" y="1554480"/>
            <a:ext cx="3291840" cy="5303519"/>
          </a:xfrm>
          <a:prstGeom prst="rect">
            <a:avLst/>
          </a:prstGeom>
          <a:solidFill>
            <a:schemeClr val="bg2"/>
          </a:solidFill>
        </p:spPr>
        <p:txBody>
          <a:bodyPr anchor="ctr"/>
          <a:lstStyle>
            <a:lvl1pPr algn="ctr">
              <a:defRPr sz="3200">
                <a:solidFill>
                  <a:schemeClr val="bg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stStyle>
          <a:p>
            <a:r>
              <a:rPr lang="en-US" dirty="0"/>
              <a:t>IMAGE</a:t>
            </a:r>
          </a:p>
        </p:txBody>
      </p:sp>
      <p:sp>
        <p:nvSpPr>
          <p:cNvPr id="55" name="Rectangle 54"/>
          <p:cNvSpPr/>
          <p:nvPr/>
        </p:nvSpPr>
        <p:spPr>
          <a:xfrm>
            <a:off x="0" y="1"/>
            <a:ext cx="12191996" cy="1554480"/>
          </a:xfrm>
          <a:prstGeom prst="rect">
            <a:avLst/>
          </a:prstGeom>
          <a:solidFill>
            <a:srgbClr val="064E69"/>
          </a:solidFill>
        </p:spPr>
        <p:txBody>
          <a:bodyPr wrap="square" lIns="548640" tIns="0" rIns="91440" bIns="0" anchor="ctr">
            <a:noAutofit/>
          </a:bodyPr>
          <a:lstStyle/>
          <a:p>
            <a:endParaRPr lang="en-US" sz="4000" b="1" dirty="0">
              <a:solidFill>
                <a:schemeClr val="bg1"/>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56" name="Rectangle 55"/>
          <p:cNvSpPr/>
          <p:nvPr/>
        </p:nvSpPr>
        <p:spPr>
          <a:xfrm>
            <a:off x="-1" y="1448246"/>
            <a:ext cx="12192127" cy="106731"/>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1" dirty="0">
              <a:latin typeface="Arial" panose="020B0604020202020204" pitchFamily="34" charset="0"/>
              <a:cs typeface="Arial" panose="020B0604020202020204" pitchFamily="34" charset="0"/>
              <a:sym typeface="Arial" panose="020B0604020202020204" pitchFamily="34" charset="0"/>
            </a:endParaRPr>
          </a:p>
        </p:txBody>
      </p:sp>
      <p:sp>
        <p:nvSpPr>
          <p:cNvPr id="57" name="Title 1"/>
          <p:cNvSpPr>
            <a:spLocks noGrp="1"/>
          </p:cNvSpPr>
          <p:nvPr>
            <p:ph type="title" hasCustomPrompt="1"/>
          </p:nvPr>
        </p:nvSpPr>
        <p:spPr>
          <a:xfrm>
            <a:off x="457200" y="296379"/>
            <a:ext cx="9688623" cy="476805"/>
          </a:xfrm>
          <a:prstGeom prst="rect">
            <a:avLst/>
          </a:prstGeom>
        </p:spPr>
        <p:txBody>
          <a:bodyPr tIns="0" bIns="0" anchor="t" anchorCtr="0"/>
          <a:lstStyle>
            <a:lvl1pPr algn="l">
              <a:defRPr sz="3000" b="1">
                <a:solidFill>
                  <a:schemeClr val="bg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stStyle>
          <a:p>
            <a:r>
              <a:rPr lang="en-US" dirty="0"/>
              <a:t>Title</a:t>
            </a:r>
          </a:p>
        </p:txBody>
      </p:sp>
      <p:sp>
        <p:nvSpPr>
          <p:cNvPr id="58" name="Text Placeholder 9"/>
          <p:cNvSpPr>
            <a:spLocks noGrp="1"/>
          </p:cNvSpPr>
          <p:nvPr>
            <p:ph type="body" sz="quarter" idx="11" hasCustomPrompt="1"/>
          </p:nvPr>
        </p:nvSpPr>
        <p:spPr>
          <a:xfrm>
            <a:off x="457200" y="860151"/>
            <a:ext cx="9688622" cy="423094"/>
          </a:xfrm>
          <a:prstGeom prst="rect">
            <a:avLst/>
          </a:prstGeom>
        </p:spPr>
        <p:txBody>
          <a:bodyPr anchor="ctr"/>
          <a:lstStyle>
            <a:lvl1pPr algn="l">
              <a:lnSpc>
                <a:spcPct val="90000"/>
              </a:lnSpc>
              <a:spcBef>
                <a:spcPts val="0"/>
              </a:spcBef>
              <a:defRPr sz="200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pPr lvl="0"/>
            <a:r>
              <a:rPr lang="en-US" dirty="0"/>
              <a:t>Subtitle</a:t>
            </a:r>
          </a:p>
        </p:txBody>
      </p:sp>
      <p:cxnSp>
        <p:nvCxnSpPr>
          <p:cNvPr id="59" name="Straight Connector 58"/>
          <p:cNvCxnSpPr/>
          <p:nvPr/>
        </p:nvCxnSpPr>
        <p:spPr>
          <a:xfrm>
            <a:off x="10363874" y="222724"/>
            <a:ext cx="0" cy="1032988"/>
          </a:xfrm>
          <a:prstGeom prst="line">
            <a:avLst/>
          </a:prstGeom>
          <a:ln w="15875" cmpd="sng">
            <a:solidFill>
              <a:schemeClr val="accent2">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63" name="TextBox 62"/>
          <p:cNvSpPr txBox="1">
            <a:spLocks/>
          </p:cNvSpPr>
          <p:nvPr/>
        </p:nvSpPr>
        <p:spPr>
          <a:xfrm>
            <a:off x="11008872" y="633221"/>
            <a:ext cx="224212" cy="176024"/>
          </a:xfrm>
          <a:custGeom>
            <a:avLst/>
            <a:gdLst/>
            <a:ahLst/>
            <a:cxnLst/>
            <a:rect l="l" t="t" r="r" b="b"/>
            <a:pathLst>
              <a:path w="486642" h="382152">
                <a:moveTo>
                  <a:pt x="150943" y="0"/>
                </a:moveTo>
                <a:cubicBezTo>
                  <a:pt x="191582" y="0"/>
                  <a:pt x="224490" y="12368"/>
                  <a:pt x="232082" y="39810"/>
                </a:cubicBezTo>
                <a:lnTo>
                  <a:pt x="232262" y="41192"/>
                </a:lnTo>
                <a:lnTo>
                  <a:pt x="244394" y="27828"/>
                </a:lnTo>
                <a:cubicBezTo>
                  <a:pt x="265912" y="9086"/>
                  <a:pt x="296328" y="0"/>
                  <a:pt x="331918" y="0"/>
                </a:cubicBezTo>
                <a:cubicBezTo>
                  <a:pt x="355140" y="0"/>
                  <a:pt x="375838" y="4038"/>
                  <a:pt x="390730" y="12620"/>
                </a:cubicBezTo>
                <a:lnTo>
                  <a:pt x="399550" y="19037"/>
                </a:lnTo>
                <a:lnTo>
                  <a:pt x="415123" y="9213"/>
                </a:lnTo>
                <a:cubicBezTo>
                  <a:pt x="421204" y="6846"/>
                  <a:pt x="427956" y="5553"/>
                  <a:pt x="435150" y="5553"/>
                </a:cubicBezTo>
                <a:cubicBezTo>
                  <a:pt x="464430" y="5553"/>
                  <a:pt x="486642" y="26250"/>
                  <a:pt x="486642" y="53511"/>
                </a:cubicBezTo>
                <a:cubicBezTo>
                  <a:pt x="486642" y="80772"/>
                  <a:pt x="464430" y="101974"/>
                  <a:pt x="435150" y="101974"/>
                </a:cubicBezTo>
                <a:cubicBezTo>
                  <a:pt x="420763" y="101974"/>
                  <a:pt x="408142" y="96674"/>
                  <a:pt x="399118" y="87965"/>
                </a:cubicBezTo>
                <a:lnTo>
                  <a:pt x="397141" y="85099"/>
                </a:lnTo>
                <a:lnTo>
                  <a:pt x="387023" y="90979"/>
                </a:lnTo>
                <a:cubicBezTo>
                  <a:pt x="381675" y="92887"/>
                  <a:pt x="375838" y="93897"/>
                  <a:pt x="369780" y="93897"/>
                </a:cubicBezTo>
                <a:cubicBezTo>
                  <a:pt x="355140" y="93897"/>
                  <a:pt x="342015" y="89354"/>
                  <a:pt x="335452" y="81781"/>
                </a:cubicBezTo>
                <a:cubicBezTo>
                  <a:pt x="350092" y="78247"/>
                  <a:pt x="359179" y="66132"/>
                  <a:pt x="359179" y="42910"/>
                </a:cubicBezTo>
                <a:cubicBezTo>
                  <a:pt x="359179" y="22717"/>
                  <a:pt x="350597" y="8077"/>
                  <a:pt x="331918" y="8077"/>
                </a:cubicBezTo>
                <a:cubicBezTo>
                  <a:pt x="308696" y="8077"/>
                  <a:pt x="300619" y="29784"/>
                  <a:pt x="300619" y="58054"/>
                </a:cubicBezTo>
                <a:lnTo>
                  <a:pt x="300619" y="132264"/>
                </a:lnTo>
                <a:lnTo>
                  <a:pt x="363217" y="132264"/>
                </a:lnTo>
                <a:lnTo>
                  <a:pt x="360693" y="144884"/>
                </a:lnTo>
                <a:lnTo>
                  <a:pt x="300619" y="144884"/>
                </a:lnTo>
                <a:lnTo>
                  <a:pt x="300619" y="327126"/>
                </a:lnTo>
                <a:cubicBezTo>
                  <a:pt x="300619" y="360445"/>
                  <a:pt x="312230" y="369027"/>
                  <a:pt x="339490" y="381142"/>
                </a:cubicBezTo>
                <a:lnTo>
                  <a:pt x="339490" y="382152"/>
                </a:lnTo>
                <a:lnTo>
                  <a:pt x="186529" y="382152"/>
                </a:lnTo>
                <a:lnTo>
                  <a:pt x="186529" y="381142"/>
                </a:lnTo>
                <a:cubicBezTo>
                  <a:pt x="208741" y="367007"/>
                  <a:pt x="210255" y="360445"/>
                  <a:pt x="210255" y="327126"/>
                </a:cubicBezTo>
                <a:lnTo>
                  <a:pt x="210255" y="144884"/>
                </a:lnTo>
                <a:lnTo>
                  <a:pt x="180976" y="144884"/>
                </a:lnTo>
                <a:lnTo>
                  <a:pt x="180976" y="139331"/>
                </a:lnTo>
                <a:lnTo>
                  <a:pt x="210255" y="128225"/>
                </a:lnTo>
                <a:lnTo>
                  <a:pt x="210255" y="113585"/>
                </a:lnTo>
                <a:lnTo>
                  <a:pt x="212504" y="87227"/>
                </a:lnTo>
                <a:lnTo>
                  <a:pt x="206048" y="90979"/>
                </a:lnTo>
                <a:cubicBezTo>
                  <a:pt x="200700" y="92887"/>
                  <a:pt x="194863" y="93897"/>
                  <a:pt x="188805" y="93897"/>
                </a:cubicBezTo>
                <a:cubicBezTo>
                  <a:pt x="174165" y="93897"/>
                  <a:pt x="161040" y="89354"/>
                  <a:pt x="154477" y="81781"/>
                </a:cubicBezTo>
                <a:cubicBezTo>
                  <a:pt x="169117" y="78247"/>
                  <a:pt x="178204" y="66132"/>
                  <a:pt x="178204" y="42910"/>
                </a:cubicBezTo>
                <a:cubicBezTo>
                  <a:pt x="178204" y="22717"/>
                  <a:pt x="169622" y="8077"/>
                  <a:pt x="150943" y="8077"/>
                </a:cubicBezTo>
                <a:cubicBezTo>
                  <a:pt x="127721" y="8077"/>
                  <a:pt x="119644" y="29784"/>
                  <a:pt x="119644" y="58054"/>
                </a:cubicBezTo>
                <a:lnTo>
                  <a:pt x="119644" y="132264"/>
                </a:lnTo>
                <a:lnTo>
                  <a:pt x="182242" y="132264"/>
                </a:lnTo>
                <a:lnTo>
                  <a:pt x="179718" y="144884"/>
                </a:lnTo>
                <a:lnTo>
                  <a:pt x="119644" y="144884"/>
                </a:lnTo>
                <a:lnTo>
                  <a:pt x="119644" y="327126"/>
                </a:lnTo>
                <a:cubicBezTo>
                  <a:pt x="119644" y="360445"/>
                  <a:pt x="131255" y="369027"/>
                  <a:pt x="158516" y="381142"/>
                </a:cubicBezTo>
                <a:lnTo>
                  <a:pt x="158516" y="382152"/>
                </a:lnTo>
                <a:lnTo>
                  <a:pt x="5554" y="382152"/>
                </a:lnTo>
                <a:lnTo>
                  <a:pt x="5554" y="381142"/>
                </a:lnTo>
                <a:cubicBezTo>
                  <a:pt x="27766" y="367007"/>
                  <a:pt x="29280" y="360445"/>
                  <a:pt x="29280" y="327126"/>
                </a:cubicBezTo>
                <a:lnTo>
                  <a:pt x="29280" y="144884"/>
                </a:lnTo>
                <a:lnTo>
                  <a:pt x="0" y="144884"/>
                </a:lnTo>
                <a:lnTo>
                  <a:pt x="0" y="139331"/>
                </a:lnTo>
                <a:lnTo>
                  <a:pt x="29280" y="128225"/>
                </a:lnTo>
                <a:lnTo>
                  <a:pt x="29280" y="113585"/>
                </a:lnTo>
                <a:cubicBezTo>
                  <a:pt x="29280" y="36347"/>
                  <a:pt x="79763" y="0"/>
                  <a:pt x="15094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4" name="TextBox 63"/>
          <p:cNvSpPr txBox="1">
            <a:spLocks/>
          </p:cNvSpPr>
          <p:nvPr/>
        </p:nvSpPr>
        <p:spPr>
          <a:xfrm>
            <a:off x="10828278" y="644150"/>
            <a:ext cx="167232" cy="16742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5" name="TextBox 64"/>
          <p:cNvSpPr txBox="1">
            <a:spLocks/>
          </p:cNvSpPr>
          <p:nvPr/>
        </p:nvSpPr>
        <p:spPr>
          <a:xfrm>
            <a:off x="11252333" y="691818"/>
            <a:ext cx="113038" cy="119752"/>
          </a:xfrm>
          <a:custGeom>
            <a:avLst/>
            <a:gdLst/>
            <a:ahLst/>
            <a:cxnLst/>
            <a:rect l="l" t="t" r="r" b="b"/>
            <a:pathLst>
              <a:path w="245345" h="259984">
                <a:moveTo>
                  <a:pt x="144885" y="0"/>
                </a:moveTo>
                <a:cubicBezTo>
                  <a:pt x="199406" y="0"/>
                  <a:pt x="240297" y="23726"/>
                  <a:pt x="240297" y="65122"/>
                </a:cubicBezTo>
                <a:cubicBezTo>
                  <a:pt x="240297" y="95411"/>
                  <a:pt x="217075" y="111061"/>
                  <a:pt x="192843" y="111061"/>
                </a:cubicBezTo>
                <a:cubicBezTo>
                  <a:pt x="166087" y="111061"/>
                  <a:pt x="150438" y="96421"/>
                  <a:pt x="148923" y="81781"/>
                </a:cubicBezTo>
                <a:cubicBezTo>
                  <a:pt x="151952" y="82791"/>
                  <a:pt x="155486" y="83296"/>
                  <a:pt x="158010" y="83296"/>
                </a:cubicBezTo>
                <a:cubicBezTo>
                  <a:pt x="176689" y="83296"/>
                  <a:pt x="184261" y="67646"/>
                  <a:pt x="184261" y="48463"/>
                </a:cubicBezTo>
                <a:cubicBezTo>
                  <a:pt x="184261" y="24231"/>
                  <a:pt x="171136" y="8582"/>
                  <a:pt x="145894" y="8582"/>
                </a:cubicBezTo>
                <a:cubicBezTo>
                  <a:pt x="110557" y="8582"/>
                  <a:pt x="93897" y="54016"/>
                  <a:pt x="93897" y="112575"/>
                </a:cubicBezTo>
                <a:cubicBezTo>
                  <a:pt x="93897" y="181737"/>
                  <a:pt x="124692" y="218589"/>
                  <a:pt x="171640" y="218589"/>
                </a:cubicBezTo>
                <a:cubicBezTo>
                  <a:pt x="200415" y="218589"/>
                  <a:pt x="226666" y="204958"/>
                  <a:pt x="242316" y="173659"/>
                </a:cubicBezTo>
                <a:lnTo>
                  <a:pt x="245345" y="175174"/>
                </a:lnTo>
                <a:cubicBezTo>
                  <a:pt x="231210" y="229190"/>
                  <a:pt x="185775" y="259984"/>
                  <a:pt x="129740" y="259984"/>
                </a:cubicBezTo>
                <a:cubicBezTo>
                  <a:pt x="60074" y="259984"/>
                  <a:pt x="0" y="213036"/>
                  <a:pt x="0" y="134788"/>
                </a:cubicBezTo>
                <a:cubicBezTo>
                  <a:pt x="0" y="49977"/>
                  <a:pt x="63608" y="0"/>
                  <a:pt x="144885"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6" name="TextBox 65"/>
          <p:cNvSpPr txBox="1">
            <a:spLocks/>
          </p:cNvSpPr>
          <p:nvPr/>
        </p:nvSpPr>
        <p:spPr>
          <a:xfrm>
            <a:off x="11375209" y="691818"/>
            <a:ext cx="116062" cy="119752"/>
          </a:xfrm>
          <a:custGeom>
            <a:avLst/>
            <a:gdLst/>
            <a:ahLst/>
            <a:cxnLst/>
            <a:rect l="l" t="t" r="r" b="b"/>
            <a:pathLst>
              <a:path w="251908" h="259984">
                <a:moveTo>
                  <a:pt x="132264" y="0"/>
                </a:moveTo>
                <a:cubicBezTo>
                  <a:pt x="213541" y="0"/>
                  <a:pt x="251908" y="51996"/>
                  <a:pt x="251908" y="118633"/>
                </a:cubicBezTo>
                <a:lnTo>
                  <a:pt x="91373" y="118633"/>
                </a:lnTo>
                <a:cubicBezTo>
                  <a:pt x="91373" y="181232"/>
                  <a:pt x="124187" y="218589"/>
                  <a:pt x="172650" y="218589"/>
                </a:cubicBezTo>
                <a:cubicBezTo>
                  <a:pt x="203444" y="218589"/>
                  <a:pt x="230200" y="204958"/>
                  <a:pt x="245850" y="173659"/>
                </a:cubicBezTo>
                <a:lnTo>
                  <a:pt x="249383" y="175174"/>
                </a:lnTo>
                <a:cubicBezTo>
                  <a:pt x="234744" y="229190"/>
                  <a:pt x="189309" y="259984"/>
                  <a:pt x="131759" y="259984"/>
                </a:cubicBezTo>
                <a:cubicBezTo>
                  <a:pt x="59569" y="259984"/>
                  <a:pt x="0" y="212531"/>
                  <a:pt x="0" y="130244"/>
                </a:cubicBezTo>
                <a:cubicBezTo>
                  <a:pt x="0" y="50987"/>
                  <a:pt x="60074" y="0"/>
                  <a:pt x="132264" y="0"/>
                </a:cubicBezTo>
                <a:close/>
                <a:moveTo>
                  <a:pt x="132264" y="8582"/>
                </a:moveTo>
                <a:cubicBezTo>
                  <a:pt x="106013" y="8582"/>
                  <a:pt x="92888" y="48463"/>
                  <a:pt x="91878" y="108032"/>
                </a:cubicBezTo>
                <a:lnTo>
                  <a:pt x="165078" y="108032"/>
                </a:lnTo>
                <a:cubicBezTo>
                  <a:pt x="165078" y="51492"/>
                  <a:pt x="161039" y="8582"/>
                  <a:pt x="132264" y="8582"/>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7" name="TextBox 66"/>
          <p:cNvSpPr txBox="1">
            <a:spLocks/>
          </p:cNvSpPr>
          <p:nvPr/>
        </p:nvSpPr>
        <p:spPr>
          <a:xfrm>
            <a:off x="11176798" y="694143"/>
            <a:ext cx="64892" cy="115102"/>
          </a:xfrm>
          <a:custGeom>
            <a:avLst/>
            <a:gdLst/>
            <a:ahLst/>
            <a:cxnLst/>
            <a:rect l="l" t="t" r="r" b="b"/>
            <a:pathLst>
              <a:path w="140846" h="249888">
                <a:moveTo>
                  <a:pt x="0" y="0"/>
                </a:moveTo>
                <a:lnTo>
                  <a:pt x="117119" y="0"/>
                </a:lnTo>
                <a:lnTo>
                  <a:pt x="117119" y="194862"/>
                </a:lnTo>
                <a:cubicBezTo>
                  <a:pt x="117119" y="228181"/>
                  <a:pt x="118633" y="234743"/>
                  <a:pt x="140846" y="248878"/>
                </a:cubicBezTo>
                <a:lnTo>
                  <a:pt x="140846" y="249888"/>
                </a:lnTo>
                <a:lnTo>
                  <a:pt x="3029" y="249888"/>
                </a:lnTo>
                <a:lnTo>
                  <a:pt x="3029" y="248878"/>
                </a:lnTo>
                <a:cubicBezTo>
                  <a:pt x="25241" y="234743"/>
                  <a:pt x="26755" y="228181"/>
                  <a:pt x="26755" y="194862"/>
                </a:cubicBezTo>
                <a:lnTo>
                  <a:pt x="26755" y="56035"/>
                </a:lnTo>
                <a:cubicBezTo>
                  <a:pt x="26755" y="21707"/>
                  <a:pt x="23726" y="14640"/>
                  <a:pt x="0" y="1009"/>
                </a:cubicBez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8" name="TextBox 67"/>
          <p:cNvSpPr txBox="1">
            <a:spLocks/>
          </p:cNvSpPr>
          <p:nvPr/>
        </p:nvSpPr>
        <p:spPr>
          <a:xfrm>
            <a:off x="11298619" y="842827"/>
            <a:ext cx="149090" cy="167421"/>
          </a:xfrm>
          <a:custGeom>
            <a:avLst/>
            <a:gdLst/>
            <a:ahLst/>
            <a:cxnLst/>
            <a:rect l="l" t="t" r="r" b="b"/>
            <a:pathLst>
              <a:path w="323593" h="363474">
                <a:moveTo>
                  <a:pt x="190319" y="0"/>
                </a:moveTo>
                <a:cubicBezTo>
                  <a:pt x="236258" y="0"/>
                  <a:pt x="260994" y="15145"/>
                  <a:pt x="277653" y="15145"/>
                </a:cubicBezTo>
                <a:cubicBezTo>
                  <a:pt x="291284" y="15145"/>
                  <a:pt x="299866" y="9087"/>
                  <a:pt x="310467" y="0"/>
                </a:cubicBezTo>
                <a:lnTo>
                  <a:pt x="314001" y="120149"/>
                </a:lnTo>
                <a:lnTo>
                  <a:pt x="312991" y="120149"/>
                </a:lnTo>
                <a:cubicBezTo>
                  <a:pt x="287750" y="56541"/>
                  <a:pt x="250393" y="11107"/>
                  <a:pt x="199910" y="11107"/>
                </a:cubicBezTo>
                <a:cubicBezTo>
                  <a:pt x="137312" y="11107"/>
                  <a:pt x="101974" y="80268"/>
                  <a:pt x="101974" y="164573"/>
                </a:cubicBezTo>
                <a:cubicBezTo>
                  <a:pt x="101974" y="260490"/>
                  <a:pt x="155486" y="315011"/>
                  <a:pt x="221113" y="315011"/>
                </a:cubicBezTo>
                <a:cubicBezTo>
                  <a:pt x="263014" y="315011"/>
                  <a:pt x="297846" y="300371"/>
                  <a:pt x="320564" y="252918"/>
                </a:cubicBezTo>
                <a:lnTo>
                  <a:pt x="323593" y="253927"/>
                </a:lnTo>
                <a:cubicBezTo>
                  <a:pt x="306428" y="321574"/>
                  <a:pt x="252412" y="363474"/>
                  <a:pt x="173660" y="363474"/>
                </a:cubicBezTo>
                <a:cubicBezTo>
                  <a:pt x="74209" y="363474"/>
                  <a:pt x="0" y="293304"/>
                  <a:pt x="0" y="186786"/>
                </a:cubicBezTo>
                <a:cubicBezTo>
                  <a:pt x="0" y="76229"/>
                  <a:pt x="85820" y="0"/>
                  <a:pt x="190319"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9" name="TextBox 68"/>
          <p:cNvSpPr txBox="1">
            <a:spLocks/>
          </p:cNvSpPr>
          <p:nvPr/>
        </p:nvSpPr>
        <p:spPr>
          <a:xfrm>
            <a:off x="11640919" y="842827"/>
            <a:ext cx="167232" cy="16742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0" name="TextBox 69"/>
          <p:cNvSpPr txBox="1">
            <a:spLocks/>
          </p:cNvSpPr>
          <p:nvPr/>
        </p:nvSpPr>
        <p:spPr>
          <a:xfrm>
            <a:off x="11457735" y="843060"/>
            <a:ext cx="172117" cy="164863"/>
          </a:xfrm>
          <a:custGeom>
            <a:avLst/>
            <a:gdLst/>
            <a:ahLst/>
            <a:cxnLst/>
            <a:rect l="l" t="t" r="r" b="b"/>
            <a:pathLst>
              <a:path w="373571" h="357921">
                <a:moveTo>
                  <a:pt x="17164" y="0"/>
                </a:moveTo>
                <a:cubicBezTo>
                  <a:pt x="24232" y="3534"/>
                  <a:pt x="35338" y="4544"/>
                  <a:pt x="52502" y="4544"/>
                </a:cubicBezTo>
                <a:lnTo>
                  <a:pt x="321069" y="4544"/>
                </a:lnTo>
                <a:cubicBezTo>
                  <a:pt x="338233" y="4544"/>
                  <a:pt x="349339" y="3534"/>
                  <a:pt x="356407" y="0"/>
                </a:cubicBezTo>
                <a:lnTo>
                  <a:pt x="373571" y="119644"/>
                </a:lnTo>
                <a:lnTo>
                  <a:pt x="372561" y="119644"/>
                </a:lnTo>
                <a:cubicBezTo>
                  <a:pt x="329651" y="50988"/>
                  <a:pt x="309963" y="17669"/>
                  <a:pt x="255946" y="17669"/>
                </a:cubicBezTo>
                <a:lnTo>
                  <a:pt x="234239" y="17669"/>
                </a:lnTo>
                <a:lnTo>
                  <a:pt x="234239" y="297847"/>
                </a:lnTo>
                <a:cubicBezTo>
                  <a:pt x="234239" y="331165"/>
                  <a:pt x="240802" y="342272"/>
                  <a:pt x="263014" y="356912"/>
                </a:cubicBezTo>
                <a:lnTo>
                  <a:pt x="263014" y="357921"/>
                </a:lnTo>
                <a:lnTo>
                  <a:pt x="110557" y="357921"/>
                </a:lnTo>
                <a:lnTo>
                  <a:pt x="110557" y="356912"/>
                </a:lnTo>
                <a:cubicBezTo>
                  <a:pt x="133274" y="342272"/>
                  <a:pt x="139332" y="331165"/>
                  <a:pt x="139332" y="297847"/>
                </a:cubicBezTo>
                <a:lnTo>
                  <a:pt x="139332" y="17669"/>
                </a:lnTo>
                <a:lnTo>
                  <a:pt x="117624" y="17669"/>
                </a:lnTo>
                <a:cubicBezTo>
                  <a:pt x="63608" y="17669"/>
                  <a:pt x="43920" y="50988"/>
                  <a:pt x="1010" y="119644"/>
                </a:cubicBezTo>
                <a:lnTo>
                  <a:pt x="0" y="119644"/>
                </a:lnTo>
                <a:lnTo>
                  <a:pt x="17164"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grpSp>
        <p:nvGrpSpPr>
          <p:cNvPr id="2" name="Group 1"/>
          <p:cNvGrpSpPr/>
          <p:nvPr/>
        </p:nvGrpSpPr>
        <p:grpSpPr>
          <a:xfrm>
            <a:off x="11001879" y="849615"/>
            <a:ext cx="276881" cy="61257"/>
            <a:chOff x="10999013" y="849614"/>
            <a:chExt cx="276809" cy="61257"/>
          </a:xfrm>
          <a:solidFill>
            <a:schemeClr val="accent3"/>
          </a:solidFill>
        </p:grpSpPr>
        <p:sp>
          <p:nvSpPr>
            <p:cNvPr id="71" name="TextBox 70"/>
            <p:cNvSpPr txBox="1">
              <a:spLocks/>
            </p:cNvSpPr>
            <p:nvPr/>
          </p:nvSpPr>
          <p:spPr>
            <a:xfrm>
              <a:off x="10999013" y="849614"/>
              <a:ext cx="60220" cy="61257"/>
            </a:xfrm>
            <a:custGeom>
              <a:avLst/>
              <a:gdLst/>
              <a:ahLst/>
              <a:cxnLst/>
              <a:rect l="l" t="t" r="r" b="b"/>
              <a:pathLst>
                <a:path w="130738" h="132991">
                  <a:moveTo>
                    <a:pt x="65709" y="0"/>
                  </a:moveTo>
                  <a:cubicBezTo>
                    <a:pt x="86122" y="0"/>
                    <a:pt x="102063" y="5891"/>
                    <a:pt x="113533" y="17673"/>
                  </a:cubicBezTo>
                  <a:cubicBezTo>
                    <a:pt x="125003" y="29455"/>
                    <a:pt x="130738" y="45715"/>
                    <a:pt x="130738" y="66451"/>
                  </a:cubicBezTo>
                  <a:cubicBezTo>
                    <a:pt x="130738" y="87129"/>
                    <a:pt x="124987" y="103389"/>
                    <a:pt x="113485" y="115230"/>
                  </a:cubicBezTo>
                  <a:cubicBezTo>
                    <a:pt x="101982" y="127071"/>
                    <a:pt x="85992" y="132991"/>
                    <a:pt x="65515" y="132991"/>
                  </a:cubicBezTo>
                  <a:cubicBezTo>
                    <a:pt x="44584" y="132991"/>
                    <a:pt x="28432" y="127174"/>
                    <a:pt x="17059" y="115539"/>
                  </a:cubicBezTo>
                  <a:cubicBezTo>
                    <a:pt x="5686" y="103904"/>
                    <a:pt x="0" y="87483"/>
                    <a:pt x="0" y="66275"/>
                  </a:cubicBezTo>
                  <a:cubicBezTo>
                    <a:pt x="0" y="45243"/>
                    <a:pt x="5702" y="28940"/>
                    <a:pt x="17107" y="17364"/>
                  </a:cubicBezTo>
                  <a:cubicBezTo>
                    <a:pt x="28513" y="5788"/>
                    <a:pt x="44713" y="0"/>
                    <a:pt x="65709" y="0"/>
                  </a:cubicBezTo>
                  <a:close/>
                  <a:moveTo>
                    <a:pt x="65709" y="13431"/>
                  </a:moveTo>
                  <a:cubicBezTo>
                    <a:pt x="49962" y="13431"/>
                    <a:pt x="37990" y="17953"/>
                    <a:pt x="29793" y="26996"/>
                  </a:cubicBezTo>
                  <a:cubicBezTo>
                    <a:pt x="21595" y="36038"/>
                    <a:pt x="17496" y="49190"/>
                    <a:pt x="17496" y="66451"/>
                  </a:cubicBezTo>
                  <a:cubicBezTo>
                    <a:pt x="17496" y="83948"/>
                    <a:pt x="21595" y="97218"/>
                    <a:pt x="29793" y="106261"/>
                  </a:cubicBezTo>
                  <a:cubicBezTo>
                    <a:pt x="37990" y="115303"/>
                    <a:pt x="49897" y="119825"/>
                    <a:pt x="65515" y="119825"/>
                  </a:cubicBezTo>
                  <a:cubicBezTo>
                    <a:pt x="81262" y="119825"/>
                    <a:pt x="93153" y="115318"/>
                    <a:pt x="101188" y="106305"/>
                  </a:cubicBezTo>
                  <a:cubicBezTo>
                    <a:pt x="109224" y="97291"/>
                    <a:pt x="113242" y="84007"/>
                    <a:pt x="113242" y="66451"/>
                  </a:cubicBezTo>
                  <a:cubicBezTo>
                    <a:pt x="113242" y="49073"/>
                    <a:pt x="109240" y="35891"/>
                    <a:pt x="101237" y="26907"/>
                  </a:cubicBezTo>
                  <a:cubicBezTo>
                    <a:pt x="93234" y="17923"/>
                    <a:pt x="81391" y="13431"/>
                    <a:pt x="65709" y="13431"/>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2" name="TextBox 71"/>
            <p:cNvSpPr txBox="1">
              <a:spLocks/>
            </p:cNvSpPr>
            <p:nvPr/>
          </p:nvSpPr>
          <p:spPr>
            <a:xfrm>
              <a:off x="11068225" y="850549"/>
              <a:ext cx="36490" cy="59507"/>
            </a:xfrm>
            <a:custGeom>
              <a:avLst/>
              <a:gdLst/>
              <a:ahLst/>
              <a:cxnLst/>
              <a:rect l="l" t="t" r="r" b="b"/>
              <a:pathLst>
                <a:path w="79221" h="129192">
                  <a:moveTo>
                    <a:pt x="0" y="0"/>
                  </a:moveTo>
                  <a:lnTo>
                    <a:pt x="79221" y="0"/>
                  </a:lnTo>
                  <a:lnTo>
                    <a:pt x="79221" y="13343"/>
                  </a:lnTo>
                  <a:lnTo>
                    <a:pt x="16525" y="13343"/>
                  </a:lnTo>
                  <a:lnTo>
                    <a:pt x="16525" y="60620"/>
                  </a:lnTo>
                  <a:lnTo>
                    <a:pt x="75430" y="60620"/>
                  </a:lnTo>
                  <a:lnTo>
                    <a:pt x="75430" y="73963"/>
                  </a:lnTo>
                  <a:lnTo>
                    <a:pt x="16525" y="73963"/>
                  </a:lnTo>
                  <a:lnTo>
                    <a:pt x="16525"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3" name="TextBox 72"/>
            <p:cNvSpPr txBox="1">
              <a:spLocks/>
            </p:cNvSpPr>
            <p:nvPr/>
          </p:nvSpPr>
          <p:spPr>
            <a:xfrm>
              <a:off x="11121455" y="850549"/>
              <a:ext cx="49071" cy="59507"/>
            </a:xfrm>
            <a:custGeom>
              <a:avLst/>
              <a:gdLst/>
              <a:ahLst/>
              <a:cxnLst/>
              <a:rect l="l" t="t" r="r" b="b"/>
              <a:pathLst>
                <a:path w="106535" h="129192">
                  <a:moveTo>
                    <a:pt x="0" y="0"/>
                  </a:moveTo>
                  <a:lnTo>
                    <a:pt x="106535" y="0"/>
                  </a:lnTo>
                  <a:lnTo>
                    <a:pt x="106535" y="13343"/>
                  </a:lnTo>
                  <a:lnTo>
                    <a:pt x="61530" y="13343"/>
                  </a:lnTo>
                  <a:lnTo>
                    <a:pt x="61530" y="129192"/>
                  </a:lnTo>
                  <a:lnTo>
                    <a:pt x="45005" y="129192"/>
                  </a:lnTo>
                  <a:lnTo>
                    <a:pt x="45005" y="13343"/>
                  </a:lnTo>
                  <a:lnTo>
                    <a:pt x="0" y="13343"/>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4" name="TextBox 73"/>
            <p:cNvSpPr txBox="1">
              <a:spLocks/>
            </p:cNvSpPr>
            <p:nvPr/>
          </p:nvSpPr>
          <p:spPr>
            <a:xfrm>
              <a:off x="11177909" y="850549"/>
              <a:ext cx="49698" cy="59507"/>
            </a:xfrm>
            <a:custGeom>
              <a:avLst/>
              <a:gdLst/>
              <a:ahLst/>
              <a:cxnLst/>
              <a:rect l="l" t="t" r="r" b="b"/>
              <a:pathLst>
                <a:path w="107896" h="129192">
                  <a:moveTo>
                    <a:pt x="0" y="0"/>
                  </a:moveTo>
                  <a:lnTo>
                    <a:pt x="16525" y="0"/>
                  </a:lnTo>
                  <a:lnTo>
                    <a:pt x="16525" y="54964"/>
                  </a:lnTo>
                  <a:lnTo>
                    <a:pt x="91371" y="54964"/>
                  </a:lnTo>
                  <a:lnTo>
                    <a:pt x="91371" y="0"/>
                  </a:lnTo>
                  <a:lnTo>
                    <a:pt x="107896" y="0"/>
                  </a:lnTo>
                  <a:lnTo>
                    <a:pt x="107896" y="129192"/>
                  </a:lnTo>
                  <a:lnTo>
                    <a:pt x="91371" y="129192"/>
                  </a:lnTo>
                  <a:lnTo>
                    <a:pt x="91371" y="68396"/>
                  </a:lnTo>
                  <a:lnTo>
                    <a:pt x="16525" y="68396"/>
                  </a:lnTo>
                  <a:lnTo>
                    <a:pt x="16525"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5" name="TextBox 74"/>
            <p:cNvSpPr txBox="1">
              <a:spLocks/>
            </p:cNvSpPr>
            <p:nvPr/>
          </p:nvSpPr>
          <p:spPr>
            <a:xfrm>
              <a:off x="11239332" y="850549"/>
              <a:ext cx="36490" cy="59507"/>
            </a:xfrm>
            <a:custGeom>
              <a:avLst/>
              <a:gdLst/>
              <a:ahLst/>
              <a:cxnLst/>
              <a:rect l="l" t="t" r="r" b="b"/>
              <a:pathLst>
                <a:path w="79221" h="129192">
                  <a:moveTo>
                    <a:pt x="0" y="0"/>
                  </a:moveTo>
                  <a:lnTo>
                    <a:pt x="79221" y="0"/>
                  </a:lnTo>
                  <a:lnTo>
                    <a:pt x="79221" y="13343"/>
                  </a:lnTo>
                  <a:lnTo>
                    <a:pt x="16525" y="13343"/>
                  </a:lnTo>
                  <a:lnTo>
                    <a:pt x="16525" y="54964"/>
                  </a:lnTo>
                  <a:lnTo>
                    <a:pt x="75430" y="54964"/>
                  </a:lnTo>
                  <a:lnTo>
                    <a:pt x="75430" y="68219"/>
                  </a:lnTo>
                  <a:lnTo>
                    <a:pt x="16525" y="68219"/>
                  </a:lnTo>
                  <a:lnTo>
                    <a:pt x="16525" y="115760"/>
                  </a:lnTo>
                  <a:lnTo>
                    <a:pt x="79221" y="115760"/>
                  </a:lnTo>
                  <a:lnTo>
                    <a:pt x="79221"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grpSp>
      <p:sp>
        <p:nvSpPr>
          <p:cNvPr id="62" name="Freeform 9"/>
          <p:cNvSpPr>
            <a:spLocks noEditPoints="1"/>
          </p:cNvSpPr>
          <p:nvPr/>
        </p:nvSpPr>
        <p:spPr bwMode="auto">
          <a:xfrm>
            <a:off x="10579888" y="371026"/>
            <a:ext cx="1417689" cy="783522"/>
          </a:xfrm>
          <a:custGeom>
            <a:avLst/>
            <a:gdLst>
              <a:gd name="T0" fmla="*/ 279 w 326"/>
              <a:gd name="T1" fmla="*/ 180 h 180"/>
              <a:gd name="T2" fmla="*/ 271 w 326"/>
              <a:gd name="T3" fmla="*/ 179 h 180"/>
              <a:gd name="T4" fmla="*/ 45 w 326"/>
              <a:gd name="T5" fmla="*/ 179 h 180"/>
              <a:gd name="T6" fmla="*/ 6 w 326"/>
              <a:gd name="T7" fmla="*/ 153 h 180"/>
              <a:gd name="T8" fmla="*/ 0 w 326"/>
              <a:gd name="T9" fmla="*/ 129 h 180"/>
              <a:gd name="T10" fmla="*/ 32 w 326"/>
              <a:gd name="T11" fmla="*/ 82 h 180"/>
              <a:gd name="T12" fmla="*/ 30 w 326"/>
              <a:gd name="T13" fmla="*/ 70 h 180"/>
              <a:gd name="T14" fmla="*/ 100 w 326"/>
              <a:gd name="T15" fmla="*/ 0 h 180"/>
              <a:gd name="T16" fmla="*/ 154 w 326"/>
              <a:gd name="T17" fmla="*/ 26 h 180"/>
              <a:gd name="T18" fmla="*/ 187 w 326"/>
              <a:gd name="T19" fmla="*/ 16 h 180"/>
              <a:gd name="T20" fmla="*/ 242 w 326"/>
              <a:gd name="T21" fmla="*/ 55 h 180"/>
              <a:gd name="T22" fmla="*/ 245 w 326"/>
              <a:gd name="T23" fmla="*/ 54 h 180"/>
              <a:gd name="T24" fmla="*/ 280 w 326"/>
              <a:gd name="T25" fmla="*/ 85 h 180"/>
              <a:gd name="T26" fmla="*/ 326 w 326"/>
              <a:gd name="T27" fmla="*/ 132 h 180"/>
              <a:gd name="T28" fmla="*/ 279 w 326"/>
              <a:gd name="T29" fmla="*/ 180 h 180"/>
              <a:gd name="T30" fmla="*/ 100 w 326"/>
              <a:gd name="T31" fmla="*/ 4 h 180"/>
              <a:gd name="T32" fmla="*/ 34 w 326"/>
              <a:gd name="T33" fmla="*/ 70 h 180"/>
              <a:gd name="T34" fmla="*/ 36 w 326"/>
              <a:gd name="T35" fmla="*/ 83 h 180"/>
              <a:gd name="T36" fmla="*/ 36 w 326"/>
              <a:gd name="T37" fmla="*/ 85 h 180"/>
              <a:gd name="T38" fmla="*/ 35 w 326"/>
              <a:gd name="T39" fmla="*/ 86 h 180"/>
              <a:gd name="T40" fmla="*/ 4 w 326"/>
              <a:gd name="T41" fmla="*/ 129 h 180"/>
              <a:gd name="T42" fmla="*/ 10 w 326"/>
              <a:gd name="T43" fmla="*/ 151 h 180"/>
              <a:gd name="T44" fmla="*/ 10 w 326"/>
              <a:gd name="T45" fmla="*/ 151 h 180"/>
              <a:gd name="T46" fmla="*/ 45 w 326"/>
              <a:gd name="T47" fmla="*/ 175 h 180"/>
              <a:gd name="T48" fmla="*/ 271 w 326"/>
              <a:gd name="T49" fmla="*/ 175 h 180"/>
              <a:gd name="T50" fmla="*/ 272 w 326"/>
              <a:gd name="T51" fmla="*/ 175 h 180"/>
              <a:gd name="T52" fmla="*/ 279 w 326"/>
              <a:gd name="T53" fmla="*/ 176 h 180"/>
              <a:gd name="T54" fmla="*/ 322 w 326"/>
              <a:gd name="T55" fmla="*/ 132 h 180"/>
              <a:gd name="T56" fmla="*/ 279 w 326"/>
              <a:gd name="T57" fmla="*/ 89 h 180"/>
              <a:gd name="T58" fmla="*/ 278 w 326"/>
              <a:gd name="T59" fmla="*/ 89 h 180"/>
              <a:gd name="T60" fmla="*/ 276 w 326"/>
              <a:gd name="T61" fmla="*/ 89 h 180"/>
              <a:gd name="T62" fmla="*/ 276 w 326"/>
              <a:gd name="T63" fmla="*/ 87 h 180"/>
              <a:gd name="T64" fmla="*/ 245 w 326"/>
              <a:gd name="T65" fmla="*/ 58 h 180"/>
              <a:gd name="T66" fmla="*/ 240 w 326"/>
              <a:gd name="T67" fmla="*/ 59 h 180"/>
              <a:gd name="T68" fmla="*/ 239 w 326"/>
              <a:gd name="T69" fmla="*/ 59 h 180"/>
              <a:gd name="T70" fmla="*/ 238 w 326"/>
              <a:gd name="T71" fmla="*/ 57 h 180"/>
              <a:gd name="T72" fmla="*/ 187 w 326"/>
              <a:gd name="T73" fmla="*/ 20 h 180"/>
              <a:gd name="T74" fmla="*/ 155 w 326"/>
              <a:gd name="T75" fmla="*/ 30 h 180"/>
              <a:gd name="T76" fmla="*/ 153 w 326"/>
              <a:gd name="T77" fmla="*/ 31 h 180"/>
              <a:gd name="T78" fmla="*/ 152 w 326"/>
              <a:gd name="T79" fmla="*/ 30 h 180"/>
              <a:gd name="T80" fmla="*/ 100 w 326"/>
              <a:gd name="T8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6" h="180">
                <a:moveTo>
                  <a:pt x="279" y="180"/>
                </a:moveTo>
                <a:cubicBezTo>
                  <a:pt x="276" y="180"/>
                  <a:pt x="274" y="179"/>
                  <a:pt x="271" y="179"/>
                </a:cubicBezTo>
                <a:cubicBezTo>
                  <a:pt x="45" y="179"/>
                  <a:pt x="45" y="179"/>
                  <a:pt x="45" y="179"/>
                </a:cubicBezTo>
                <a:cubicBezTo>
                  <a:pt x="28" y="179"/>
                  <a:pt x="13" y="169"/>
                  <a:pt x="6" y="153"/>
                </a:cubicBezTo>
                <a:cubicBezTo>
                  <a:pt x="2" y="146"/>
                  <a:pt x="0" y="137"/>
                  <a:pt x="0" y="129"/>
                </a:cubicBezTo>
                <a:cubicBezTo>
                  <a:pt x="0" y="109"/>
                  <a:pt x="13" y="90"/>
                  <a:pt x="32" y="82"/>
                </a:cubicBezTo>
                <a:cubicBezTo>
                  <a:pt x="31" y="78"/>
                  <a:pt x="30" y="74"/>
                  <a:pt x="30" y="70"/>
                </a:cubicBezTo>
                <a:cubicBezTo>
                  <a:pt x="30" y="32"/>
                  <a:pt x="62" y="0"/>
                  <a:pt x="100" y="0"/>
                </a:cubicBezTo>
                <a:cubicBezTo>
                  <a:pt x="121" y="0"/>
                  <a:pt x="141" y="10"/>
                  <a:pt x="154" y="26"/>
                </a:cubicBezTo>
                <a:cubicBezTo>
                  <a:pt x="164" y="19"/>
                  <a:pt x="175" y="16"/>
                  <a:pt x="187" y="16"/>
                </a:cubicBezTo>
                <a:cubicBezTo>
                  <a:pt x="212" y="16"/>
                  <a:pt x="233" y="31"/>
                  <a:pt x="242" y="55"/>
                </a:cubicBezTo>
                <a:cubicBezTo>
                  <a:pt x="243" y="54"/>
                  <a:pt x="244" y="54"/>
                  <a:pt x="245" y="54"/>
                </a:cubicBezTo>
                <a:cubicBezTo>
                  <a:pt x="263" y="54"/>
                  <a:pt x="278" y="68"/>
                  <a:pt x="280" y="85"/>
                </a:cubicBezTo>
                <a:cubicBezTo>
                  <a:pt x="305" y="86"/>
                  <a:pt x="326" y="107"/>
                  <a:pt x="326" y="132"/>
                </a:cubicBezTo>
                <a:cubicBezTo>
                  <a:pt x="326" y="158"/>
                  <a:pt x="305" y="180"/>
                  <a:pt x="279" y="180"/>
                </a:cubicBezTo>
                <a:close/>
                <a:moveTo>
                  <a:pt x="100" y="4"/>
                </a:moveTo>
                <a:cubicBezTo>
                  <a:pt x="64" y="4"/>
                  <a:pt x="34" y="34"/>
                  <a:pt x="34" y="70"/>
                </a:cubicBezTo>
                <a:cubicBezTo>
                  <a:pt x="34" y="75"/>
                  <a:pt x="35" y="79"/>
                  <a:pt x="36" y="83"/>
                </a:cubicBezTo>
                <a:cubicBezTo>
                  <a:pt x="36" y="85"/>
                  <a:pt x="36" y="85"/>
                  <a:pt x="36" y="85"/>
                </a:cubicBezTo>
                <a:cubicBezTo>
                  <a:pt x="35" y="86"/>
                  <a:pt x="35" y="86"/>
                  <a:pt x="35" y="86"/>
                </a:cubicBezTo>
                <a:cubicBezTo>
                  <a:pt x="16" y="92"/>
                  <a:pt x="4" y="110"/>
                  <a:pt x="4" y="129"/>
                </a:cubicBezTo>
                <a:cubicBezTo>
                  <a:pt x="4" y="137"/>
                  <a:pt x="6" y="144"/>
                  <a:pt x="10" y="151"/>
                </a:cubicBezTo>
                <a:cubicBezTo>
                  <a:pt x="10" y="151"/>
                  <a:pt x="10" y="151"/>
                  <a:pt x="10" y="151"/>
                </a:cubicBezTo>
                <a:cubicBezTo>
                  <a:pt x="16" y="166"/>
                  <a:pt x="30" y="175"/>
                  <a:pt x="45" y="175"/>
                </a:cubicBezTo>
                <a:cubicBezTo>
                  <a:pt x="271" y="175"/>
                  <a:pt x="271" y="175"/>
                  <a:pt x="271" y="175"/>
                </a:cubicBezTo>
                <a:cubicBezTo>
                  <a:pt x="272" y="175"/>
                  <a:pt x="272" y="175"/>
                  <a:pt x="272" y="175"/>
                </a:cubicBezTo>
                <a:cubicBezTo>
                  <a:pt x="274" y="175"/>
                  <a:pt x="276" y="176"/>
                  <a:pt x="279" y="176"/>
                </a:cubicBezTo>
                <a:cubicBezTo>
                  <a:pt x="303" y="176"/>
                  <a:pt x="322" y="156"/>
                  <a:pt x="322" y="132"/>
                </a:cubicBezTo>
                <a:cubicBezTo>
                  <a:pt x="322" y="109"/>
                  <a:pt x="303" y="89"/>
                  <a:pt x="279" y="89"/>
                </a:cubicBezTo>
                <a:cubicBezTo>
                  <a:pt x="279" y="89"/>
                  <a:pt x="278" y="89"/>
                  <a:pt x="278" y="89"/>
                </a:cubicBezTo>
                <a:cubicBezTo>
                  <a:pt x="276" y="89"/>
                  <a:pt x="276" y="89"/>
                  <a:pt x="276" y="89"/>
                </a:cubicBezTo>
                <a:cubicBezTo>
                  <a:pt x="276" y="87"/>
                  <a:pt x="276" y="87"/>
                  <a:pt x="276" y="87"/>
                </a:cubicBezTo>
                <a:cubicBezTo>
                  <a:pt x="275" y="71"/>
                  <a:pt x="261" y="58"/>
                  <a:pt x="245" y="58"/>
                </a:cubicBezTo>
                <a:cubicBezTo>
                  <a:pt x="243" y="58"/>
                  <a:pt x="242" y="59"/>
                  <a:pt x="240" y="59"/>
                </a:cubicBezTo>
                <a:cubicBezTo>
                  <a:pt x="239" y="59"/>
                  <a:pt x="239" y="59"/>
                  <a:pt x="239" y="59"/>
                </a:cubicBezTo>
                <a:cubicBezTo>
                  <a:pt x="238" y="57"/>
                  <a:pt x="238" y="57"/>
                  <a:pt x="238" y="57"/>
                </a:cubicBezTo>
                <a:cubicBezTo>
                  <a:pt x="231" y="35"/>
                  <a:pt x="210" y="20"/>
                  <a:pt x="187" y="20"/>
                </a:cubicBezTo>
                <a:cubicBezTo>
                  <a:pt x="175" y="20"/>
                  <a:pt x="164" y="23"/>
                  <a:pt x="155" y="30"/>
                </a:cubicBezTo>
                <a:cubicBezTo>
                  <a:pt x="153" y="31"/>
                  <a:pt x="153" y="31"/>
                  <a:pt x="153" y="31"/>
                </a:cubicBezTo>
                <a:cubicBezTo>
                  <a:pt x="152" y="30"/>
                  <a:pt x="152" y="30"/>
                  <a:pt x="152" y="30"/>
                </a:cubicBezTo>
                <a:cubicBezTo>
                  <a:pt x="139" y="14"/>
                  <a:pt x="121" y="4"/>
                  <a:pt x="100" y="4"/>
                </a:cubicBezTo>
                <a:close/>
              </a:path>
            </a:pathLst>
          </a:custGeom>
          <a:solidFill>
            <a:srgbClr val="34697F"/>
          </a:solidFill>
          <a:ln>
            <a:noFill/>
          </a:ln>
          <a:extLst/>
        </p:spPr>
        <p:txBody>
          <a:bodyPr vert="horz" wrap="square" lIns="91440" tIns="45720" rIns="91440" bIns="45720" numCol="1" anchor="t" anchorCtr="0" compatLnSpc="1">
            <a:prstTxWarp prst="textNoShape">
              <a:avLst/>
            </a:prstTxWarp>
          </a:bodyPr>
          <a:lstStyle/>
          <a:p>
            <a:endParaRPr lang="en-US" sz="1800">
              <a:latin typeface="Arial" panose="020B0604020202020204" pitchFamily="34" charset="0"/>
              <a:cs typeface="Arial" panose="020B0604020202020204" pitchFamily="34" charset="0"/>
              <a:sym typeface="Arial" panose="020B0604020202020204" pitchFamily="34" charset="0"/>
            </a:endParaRPr>
          </a:p>
        </p:txBody>
      </p:sp>
      <p:sp>
        <p:nvSpPr>
          <p:cNvPr id="24" name="Content Placeholder 8"/>
          <p:cNvSpPr txBox="1">
            <a:spLocks/>
          </p:cNvSpPr>
          <p:nvPr userDrawn="1"/>
        </p:nvSpPr>
        <p:spPr>
          <a:xfrm>
            <a:off x="11104408" y="6418626"/>
            <a:ext cx="734493" cy="228600"/>
          </a:xfrm>
          <a:prstGeom prst="rect">
            <a:avLst/>
          </a:prstGeom>
        </p:spPr>
        <p:txBody>
          <a:bodyPr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r>
              <a:rPr lang="en-US" sz="1000" dirty="0">
                <a:latin typeface="Arial" panose="020B0604020202020204" pitchFamily="34" charset="0"/>
                <a:ea typeface="Open Sans" panose="020B0606030504020204" pitchFamily="34" charset="0"/>
                <a:cs typeface="Arial" panose="020B0604020202020204" pitchFamily="34" charset="0"/>
                <a:sym typeface="Arial" panose="020B0604020202020204" pitchFamily="34" charset="0"/>
              </a:rPr>
              <a:t> </a:t>
            </a:r>
            <a:fld id="{38743595-4496-5147-A886-7D133864DF76}" type="slidenum">
              <a:rPr lang="en-US" sz="1000" smtClean="0">
                <a:solidFill>
                  <a:srgbClr val="3F3F3F"/>
                </a:solidFill>
                <a:latin typeface="Arial" panose="020B0604020202020204" pitchFamily="34" charset="0"/>
                <a:ea typeface="Open Sans" panose="020B0606030504020204" pitchFamily="34" charset="0"/>
                <a:cs typeface="Arial" panose="020B0604020202020204" pitchFamily="34" charset="0"/>
                <a:sym typeface="Arial" panose="020B0604020202020204" pitchFamily="34" charset="0"/>
              </a:rPr>
              <a:pPr algn="r"/>
              <a:t>‹#›</a:t>
            </a:fld>
            <a:endParaRPr lang="en-US" sz="1000" dirty="0">
              <a:latin typeface="Arial" panose="020B0604020202020204" pitchFamily="34" charset="0"/>
              <a:ea typeface="Open Sans" panose="020B0606030504020204" pitchFamily="34" charset="0"/>
              <a:cs typeface="Arial" panose="020B0604020202020204" pitchFamily="34" charset="0"/>
              <a:sym typeface="Arial" panose="020B0604020202020204" pitchFamily="34" charset="0"/>
            </a:endParaRPr>
          </a:p>
        </p:txBody>
      </p:sp>
      <p:sp>
        <p:nvSpPr>
          <p:cNvPr id="25" name="MSIPCMContentMarking" descr="{&quot;HashCode&quot;:-356254672,&quot;Placement&quot;:&quot;Footer&quot;}">
            <a:extLst>
              <a:ext uri="{FF2B5EF4-FFF2-40B4-BE49-F238E27FC236}">
                <a16:creationId xmlns:a16="http://schemas.microsoft.com/office/drawing/2014/main" id="{B869DC3D-CEDB-48B8-8C95-B8965AA1143A}"/>
              </a:ext>
            </a:extLst>
          </p:cNvPr>
          <p:cNvSpPr txBox="1"/>
          <p:nvPr userDrawn="1"/>
        </p:nvSpPr>
        <p:spPr>
          <a:xfrm>
            <a:off x="10717460" y="6413372"/>
            <a:ext cx="709344" cy="228163"/>
          </a:xfrm>
          <a:prstGeom prst="rect">
            <a:avLst/>
          </a:prstGeom>
          <a:noFill/>
        </p:spPr>
        <p:txBody>
          <a:bodyPr vert="horz" wrap="square" lIns="0" tIns="0" rIns="0" bIns="0" rtlCol="0" anchor="ctr" anchorCtr="1">
            <a:noAutofit/>
          </a:bodyPr>
          <a:lstStyle/>
          <a:p>
            <a:pPr algn="l" defTabSz="456758" fontAlgn="base">
              <a:spcBef>
                <a:spcPts val="0"/>
              </a:spcBef>
              <a:spcAft>
                <a:spcPts val="0"/>
              </a:spcAft>
            </a:pPr>
            <a:r>
              <a:rPr lang="en-US" sz="800">
                <a:solidFill>
                  <a:srgbClr val="414141"/>
                </a:solidFill>
                <a:latin typeface="Arial" panose="020B0604020202020204" pitchFamily="34" charset="0"/>
                <a:cs typeface="Arial" panose="020B0604020202020204" pitchFamily="34" charset="0"/>
                <a:sym typeface="Arial" panose="020B0604020202020204" pitchFamily="34" charset="0"/>
              </a:rPr>
              <a:t>Proprietary</a:t>
            </a:r>
            <a:endParaRPr lang="en-US" sz="800" dirty="0" err="1">
              <a:solidFill>
                <a:srgbClr val="414141"/>
              </a:solidFill>
              <a:latin typeface="Arial" panose="020B0604020202020204" pitchFamily="34" charset="0"/>
              <a:cs typeface="Arial" panose="020B0604020202020204" pitchFamily="34" charset="0"/>
              <a:sym typeface="Arial" panose="020B0604020202020204" pitchFamily="34" charset="0"/>
            </a:endParaRPr>
          </a:p>
        </p:txBody>
      </p:sp>
      <p:sp>
        <p:nvSpPr>
          <p:cNvPr id="26" name="Rectangle 25"/>
          <p:cNvSpPr/>
          <p:nvPr userDrawn="1"/>
        </p:nvSpPr>
        <p:spPr>
          <a:xfrm>
            <a:off x="8808590" y="1554232"/>
            <a:ext cx="91440" cy="5303521"/>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1" dirty="0">
              <a:latin typeface="Arial" panose="020B0604020202020204" pitchFamily="34" charset="0"/>
              <a:cs typeface="Arial" panose="020B0604020202020204" pitchFamily="34" charset="0"/>
              <a:sym typeface="Arial" panose="020B0604020202020204" pitchFamily="34" charset="0"/>
            </a:endParaRPr>
          </a:p>
        </p:txBody>
      </p:sp>
      <p:sp>
        <p:nvSpPr>
          <p:cNvPr id="27" name="Text Placeholder 4"/>
          <p:cNvSpPr>
            <a:spLocks noGrp="1"/>
          </p:cNvSpPr>
          <p:nvPr>
            <p:ph type="body" sz="quarter" idx="12" hasCustomPrompt="1"/>
          </p:nvPr>
        </p:nvSpPr>
        <p:spPr>
          <a:xfrm>
            <a:off x="457200" y="2011432"/>
            <a:ext cx="7937863" cy="4162249"/>
          </a:xfrm>
          <a:prstGeom prst="rect">
            <a:avLst/>
          </a:prstGeo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lvl="0"/>
            <a:r>
              <a:rPr lang="en-US" dirty="0"/>
              <a:t>Body text</a:t>
            </a:r>
          </a:p>
        </p:txBody>
      </p:sp>
    </p:spTree>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 name="Content Placeholder 8"/>
          <p:cNvSpPr txBox="1">
            <a:spLocks/>
          </p:cNvSpPr>
          <p:nvPr/>
        </p:nvSpPr>
        <p:spPr>
          <a:xfrm>
            <a:off x="11104408" y="6418626"/>
            <a:ext cx="734493" cy="228600"/>
          </a:xfrm>
          <a:prstGeom prst="rect">
            <a:avLst/>
          </a:prstGeom>
        </p:spPr>
        <p:txBody>
          <a:bodyPr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r>
              <a:rPr lang="en-US" sz="1000" dirty="0">
                <a:latin typeface="Arial" panose="020B0604020202020204" pitchFamily="34" charset="0"/>
                <a:ea typeface="Open Sans" panose="020B0606030504020204" pitchFamily="34" charset="0"/>
                <a:cs typeface="Arial" panose="020B0604020202020204" pitchFamily="34" charset="0"/>
                <a:sym typeface="Arial" panose="020B0604020202020204" pitchFamily="34" charset="0"/>
              </a:rPr>
              <a:t> </a:t>
            </a:r>
            <a:fld id="{38743595-4496-5147-A886-7D133864DF76}" type="slidenum">
              <a:rPr lang="en-US" sz="1000" smtClean="0">
                <a:solidFill>
                  <a:srgbClr val="3F3F3F"/>
                </a:solidFill>
                <a:latin typeface="Arial" panose="020B0604020202020204" pitchFamily="34" charset="0"/>
                <a:ea typeface="Open Sans" panose="020B0606030504020204" pitchFamily="34" charset="0"/>
                <a:cs typeface="Arial" panose="020B0604020202020204" pitchFamily="34" charset="0"/>
                <a:sym typeface="Arial" panose="020B0604020202020204" pitchFamily="34" charset="0"/>
              </a:rPr>
              <a:pPr algn="r"/>
              <a:t>‹#›</a:t>
            </a:fld>
            <a:endParaRPr lang="en-US" sz="1000" dirty="0">
              <a:latin typeface="Arial" panose="020B0604020202020204" pitchFamily="34" charset="0"/>
              <a:ea typeface="Open Sans" panose="020B0606030504020204" pitchFamily="34" charset="0"/>
              <a:cs typeface="Arial" panose="020B0604020202020204" pitchFamily="34" charset="0"/>
              <a:sym typeface="Arial" panose="020B0604020202020204" pitchFamily="34" charset="0"/>
            </a:endParaRPr>
          </a:p>
        </p:txBody>
      </p:sp>
      <p:graphicFrame>
        <p:nvGraphicFramePr>
          <p:cNvPr id="11" name="Object 10" hidden="1"/>
          <p:cNvGraphicFramePr>
            <a:graphicFrameLocks noChangeAspect="1"/>
          </p:cNvGraphicFramePr>
          <p:nvPr>
            <p:custDataLst>
              <p:tags r:id="rId14"/>
            </p:custDataLst>
            <p:extLst>
              <p:ext uri="{D42A27DB-BD31-4B8C-83A1-F6EECF244321}">
                <p14:modId xmlns:p14="http://schemas.microsoft.com/office/powerpoint/2010/main" val="295740171"/>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15" imgW="471" imgH="470" progId="TCLayout.ActiveDocument.1">
                  <p:embed/>
                </p:oleObj>
              </mc:Choice>
              <mc:Fallback>
                <p:oleObj name="think-cell Slide" r:id="rId15" imgW="471" imgH="470" progId="TCLayout.ActiveDocument.1">
                  <p:embed/>
                  <p:pic>
                    <p:nvPicPr>
                      <p:cNvPr id="11" name="Object 10" hidden="1"/>
                      <p:cNvPicPr/>
                      <p:nvPr/>
                    </p:nvPicPr>
                    <p:blipFill>
                      <a:blip r:embed="rId16"/>
                      <a:stretch>
                        <a:fillRect/>
                      </a:stretch>
                    </p:blipFill>
                    <p:spPr>
                      <a:xfrm>
                        <a:off x="1589" y="1589"/>
                        <a:ext cx="1587" cy="1587"/>
                      </a:xfrm>
                      <a:prstGeom prst="rect">
                        <a:avLst/>
                      </a:prstGeom>
                    </p:spPr>
                  </p:pic>
                </p:oleObj>
              </mc:Fallback>
            </mc:AlternateContent>
          </a:graphicData>
        </a:graphic>
      </p:graphicFrame>
      <p:sp>
        <p:nvSpPr>
          <p:cNvPr id="12" name="MSIPCMContentMarking" descr="{&quot;HashCode&quot;:-356254672,&quot;Placement&quot;:&quot;Footer&quot;}">
            <a:extLst>
              <a:ext uri="{FF2B5EF4-FFF2-40B4-BE49-F238E27FC236}">
                <a16:creationId xmlns:a16="http://schemas.microsoft.com/office/drawing/2014/main" id="{B869DC3D-CEDB-48B8-8C95-B8965AA1143A}"/>
              </a:ext>
            </a:extLst>
          </p:cNvPr>
          <p:cNvSpPr txBox="1"/>
          <p:nvPr/>
        </p:nvSpPr>
        <p:spPr>
          <a:xfrm>
            <a:off x="10717460" y="6413372"/>
            <a:ext cx="709344" cy="228163"/>
          </a:xfrm>
          <a:prstGeom prst="rect">
            <a:avLst/>
          </a:prstGeom>
          <a:noFill/>
        </p:spPr>
        <p:txBody>
          <a:bodyPr vert="horz" wrap="square" lIns="0" tIns="0" rIns="0" bIns="0" rtlCol="0" anchor="ctr" anchorCtr="1">
            <a:noAutofit/>
          </a:bodyPr>
          <a:lstStyle/>
          <a:p>
            <a:pPr algn="l" defTabSz="456758" fontAlgn="base">
              <a:spcBef>
                <a:spcPts val="0"/>
              </a:spcBef>
              <a:spcAft>
                <a:spcPts val="0"/>
              </a:spcAft>
            </a:pPr>
            <a:r>
              <a:rPr lang="en-US" sz="800">
                <a:solidFill>
                  <a:srgbClr val="414141"/>
                </a:solidFill>
                <a:latin typeface="Arial" panose="020B0604020202020204" pitchFamily="34" charset="0"/>
                <a:cs typeface="Arial" panose="020B0604020202020204" pitchFamily="34" charset="0"/>
                <a:sym typeface="Arial" panose="020B0604020202020204" pitchFamily="34" charset="0"/>
              </a:rPr>
              <a:t>Proprietary</a:t>
            </a:r>
            <a:endParaRPr lang="en-US" sz="800" dirty="0" err="1">
              <a:solidFill>
                <a:srgbClr val="414141"/>
              </a:solidFill>
              <a:latin typeface="Arial" panose="020B0604020202020204" pitchFamily="34" charset="0"/>
              <a:cs typeface="Arial" panose="020B0604020202020204" pitchFamily="34" charset="0"/>
              <a:sym typeface="Arial" panose="020B0604020202020204" pitchFamily="34" charset="0"/>
            </a:endParaRPr>
          </a:p>
        </p:txBody>
      </p:sp>
      <p:sp>
        <p:nvSpPr>
          <p:cNvPr id="9" name="Content Placeholder 8"/>
          <p:cNvSpPr txBox="1">
            <a:spLocks/>
          </p:cNvSpPr>
          <p:nvPr userDrawn="1"/>
        </p:nvSpPr>
        <p:spPr>
          <a:xfrm>
            <a:off x="547922" y="6418626"/>
            <a:ext cx="2383745"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r>
              <a:rPr lang="en-US" sz="800" dirty="0">
                <a:solidFill>
                  <a:schemeClr val="bg2"/>
                </a:solidFill>
                <a:latin typeface="Arial" panose="020B0604020202020204" pitchFamily="34" charset="0"/>
                <a:cs typeface="Arial" panose="020B0604020202020204" pitchFamily="34" charset="0"/>
                <a:sym typeface="Arial" panose="020B0604020202020204" pitchFamily="34" charset="0"/>
              </a:rPr>
              <a:t>©2018</a:t>
            </a:r>
          </a:p>
        </p:txBody>
      </p:sp>
      <p:grpSp>
        <p:nvGrpSpPr>
          <p:cNvPr id="13" name="Group 12">
            <a:extLst>
              <a:ext uri="{FF2B5EF4-FFF2-40B4-BE49-F238E27FC236}">
                <a16:creationId xmlns:a16="http://schemas.microsoft.com/office/drawing/2014/main" id="{970D1A23-D88D-46C3-95E5-B10C224E1CC3}"/>
              </a:ext>
            </a:extLst>
          </p:cNvPr>
          <p:cNvGrpSpPr>
            <a:grpSpLocks noChangeAspect="1"/>
          </p:cNvGrpSpPr>
          <p:nvPr userDrawn="1"/>
        </p:nvGrpSpPr>
        <p:grpSpPr>
          <a:xfrm>
            <a:off x="5618496" y="6443197"/>
            <a:ext cx="955009" cy="127570"/>
            <a:chOff x="279400" y="2781300"/>
            <a:chExt cx="8585200" cy="1092200"/>
          </a:xfrm>
        </p:grpSpPr>
        <p:sp>
          <p:nvSpPr>
            <p:cNvPr id="14" name="Freeform 5">
              <a:extLst>
                <a:ext uri="{FF2B5EF4-FFF2-40B4-BE49-F238E27FC236}">
                  <a16:creationId xmlns:a16="http://schemas.microsoft.com/office/drawing/2014/main" id="{7365CECB-7D2B-4CF7-BFD3-6752DEC67F25}"/>
                </a:ext>
              </a:extLst>
            </p:cNvPr>
            <p:cNvSpPr>
              <a:spLocks/>
            </p:cNvSpPr>
            <p:nvPr/>
          </p:nvSpPr>
          <p:spPr bwMode="auto">
            <a:xfrm>
              <a:off x="4605338" y="2816225"/>
              <a:ext cx="958850" cy="1035050"/>
            </a:xfrm>
            <a:custGeom>
              <a:avLst/>
              <a:gdLst>
                <a:gd name="T0" fmla="*/ 142 w 604"/>
                <a:gd name="T1" fmla="*/ 272 h 652"/>
                <a:gd name="T2" fmla="*/ 142 w 604"/>
                <a:gd name="T3" fmla="*/ 57 h 652"/>
                <a:gd name="T4" fmla="*/ 206 w 604"/>
                <a:gd name="T5" fmla="*/ 57 h 652"/>
                <a:gd name="T6" fmla="*/ 206 w 604"/>
                <a:gd name="T7" fmla="*/ 0 h 652"/>
                <a:gd name="T8" fmla="*/ 0 w 604"/>
                <a:gd name="T9" fmla="*/ 0 h 652"/>
                <a:gd name="T10" fmla="*/ 0 w 604"/>
                <a:gd name="T11" fmla="*/ 57 h 652"/>
                <a:gd name="T12" fmla="*/ 64 w 604"/>
                <a:gd name="T13" fmla="*/ 57 h 652"/>
                <a:gd name="T14" fmla="*/ 64 w 604"/>
                <a:gd name="T15" fmla="*/ 587 h 652"/>
                <a:gd name="T16" fmla="*/ 0 w 604"/>
                <a:gd name="T17" fmla="*/ 587 h 652"/>
                <a:gd name="T18" fmla="*/ 0 w 604"/>
                <a:gd name="T19" fmla="*/ 652 h 652"/>
                <a:gd name="T20" fmla="*/ 206 w 604"/>
                <a:gd name="T21" fmla="*/ 652 h 652"/>
                <a:gd name="T22" fmla="*/ 206 w 604"/>
                <a:gd name="T23" fmla="*/ 587 h 652"/>
                <a:gd name="T24" fmla="*/ 142 w 604"/>
                <a:gd name="T25" fmla="*/ 587 h 652"/>
                <a:gd name="T26" fmla="*/ 142 w 604"/>
                <a:gd name="T27" fmla="*/ 329 h 652"/>
                <a:gd name="T28" fmla="*/ 462 w 604"/>
                <a:gd name="T29" fmla="*/ 329 h 652"/>
                <a:gd name="T30" fmla="*/ 462 w 604"/>
                <a:gd name="T31" fmla="*/ 587 h 652"/>
                <a:gd name="T32" fmla="*/ 398 w 604"/>
                <a:gd name="T33" fmla="*/ 587 h 652"/>
                <a:gd name="T34" fmla="*/ 398 w 604"/>
                <a:gd name="T35" fmla="*/ 652 h 652"/>
                <a:gd name="T36" fmla="*/ 604 w 604"/>
                <a:gd name="T37" fmla="*/ 652 h 652"/>
                <a:gd name="T38" fmla="*/ 604 w 604"/>
                <a:gd name="T39" fmla="*/ 587 h 652"/>
                <a:gd name="T40" fmla="*/ 540 w 604"/>
                <a:gd name="T41" fmla="*/ 587 h 652"/>
                <a:gd name="T42" fmla="*/ 540 w 604"/>
                <a:gd name="T43" fmla="*/ 57 h 652"/>
                <a:gd name="T44" fmla="*/ 604 w 604"/>
                <a:gd name="T45" fmla="*/ 57 h 652"/>
                <a:gd name="T46" fmla="*/ 604 w 604"/>
                <a:gd name="T47" fmla="*/ 0 h 652"/>
                <a:gd name="T48" fmla="*/ 398 w 604"/>
                <a:gd name="T49" fmla="*/ 0 h 652"/>
                <a:gd name="T50" fmla="*/ 398 w 604"/>
                <a:gd name="T51" fmla="*/ 57 h 652"/>
                <a:gd name="T52" fmla="*/ 462 w 604"/>
                <a:gd name="T53" fmla="*/ 57 h 652"/>
                <a:gd name="T54" fmla="*/ 462 w 604"/>
                <a:gd name="T55" fmla="*/ 272 h 652"/>
                <a:gd name="T56" fmla="*/ 142 w 604"/>
                <a:gd name="T57" fmla="*/ 27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4" h="652">
                  <a:moveTo>
                    <a:pt x="142" y="272"/>
                  </a:moveTo>
                  <a:lnTo>
                    <a:pt x="142" y="57"/>
                  </a:lnTo>
                  <a:lnTo>
                    <a:pt x="206" y="57"/>
                  </a:lnTo>
                  <a:lnTo>
                    <a:pt x="206" y="0"/>
                  </a:lnTo>
                  <a:lnTo>
                    <a:pt x="0" y="0"/>
                  </a:lnTo>
                  <a:lnTo>
                    <a:pt x="0" y="57"/>
                  </a:lnTo>
                  <a:lnTo>
                    <a:pt x="64" y="57"/>
                  </a:lnTo>
                  <a:lnTo>
                    <a:pt x="64" y="587"/>
                  </a:lnTo>
                  <a:lnTo>
                    <a:pt x="0" y="587"/>
                  </a:lnTo>
                  <a:lnTo>
                    <a:pt x="0" y="652"/>
                  </a:lnTo>
                  <a:lnTo>
                    <a:pt x="206" y="652"/>
                  </a:lnTo>
                  <a:lnTo>
                    <a:pt x="206" y="587"/>
                  </a:lnTo>
                  <a:lnTo>
                    <a:pt x="142" y="587"/>
                  </a:lnTo>
                  <a:lnTo>
                    <a:pt x="142" y="329"/>
                  </a:lnTo>
                  <a:lnTo>
                    <a:pt x="462" y="329"/>
                  </a:lnTo>
                  <a:lnTo>
                    <a:pt x="462" y="587"/>
                  </a:lnTo>
                  <a:lnTo>
                    <a:pt x="398" y="587"/>
                  </a:lnTo>
                  <a:lnTo>
                    <a:pt x="398" y="652"/>
                  </a:lnTo>
                  <a:lnTo>
                    <a:pt x="604" y="652"/>
                  </a:lnTo>
                  <a:lnTo>
                    <a:pt x="604" y="587"/>
                  </a:lnTo>
                  <a:lnTo>
                    <a:pt x="540" y="587"/>
                  </a:lnTo>
                  <a:lnTo>
                    <a:pt x="540" y="57"/>
                  </a:lnTo>
                  <a:lnTo>
                    <a:pt x="604" y="57"/>
                  </a:lnTo>
                  <a:lnTo>
                    <a:pt x="604" y="0"/>
                  </a:lnTo>
                  <a:lnTo>
                    <a:pt x="398" y="0"/>
                  </a:lnTo>
                  <a:lnTo>
                    <a:pt x="398" y="57"/>
                  </a:lnTo>
                  <a:lnTo>
                    <a:pt x="462" y="57"/>
                  </a:lnTo>
                  <a:lnTo>
                    <a:pt x="462" y="272"/>
                  </a:lnTo>
                  <a:lnTo>
                    <a:pt x="142" y="2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17" name="Freeform 6">
              <a:extLst>
                <a:ext uri="{FF2B5EF4-FFF2-40B4-BE49-F238E27FC236}">
                  <a16:creationId xmlns:a16="http://schemas.microsoft.com/office/drawing/2014/main" id="{7111873F-5B39-42DE-99F1-E7FC74583C0C}"/>
                </a:ext>
              </a:extLst>
            </p:cNvPr>
            <p:cNvSpPr>
              <a:spLocks/>
            </p:cNvSpPr>
            <p:nvPr/>
          </p:nvSpPr>
          <p:spPr bwMode="auto">
            <a:xfrm>
              <a:off x="8042275" y="2816225"/>
              <a:ext cx="822325" cy="1035050"/>
            </a:xfrm>
            <a:custGeom>
              <a:avLst/>
              <a:gdLst>
                <a:gd name="T0" fmla="*/ 27 w 73"/>
                <a:gd name="T1" fmla="*/ 82 h 91"/>
                <a:gd name="T2" fmla="*/ 19 w 73"/>
                <a:gd name="T3" fmla="*/ 82 h 91"/>
                <a:gd name="T4" fmla="*/ 19 w 73"/>
                <a:gd name="T5" fmla="*/ 54 h 91"/>
                <a:gd name="T6" fmla="*/ 37 w 73"/>
                <a:gd name="T7" fmla="*/ 35 h 91"/>
                <a:gd name="T8" fmla="*/ 55 w 73"/>
                <a:gd name="T9" fmla="*/ 54 h 91"/>
                <a:gd name="T10" fmla="*/ 55 w 73"/>
                <a:gd name="T11" fmla="*/ 82 h 91"/>
                <a:gd name="T12" fmla="*/ 46 w 73"/>
                <a:gd name="T13" fmla="*/ 82 h 91"/>
                <a:gd name="T14" fmla="*/ 46 w 73"/>
                <a:gd name="T15" fmla="*/ 91 h 91"/>
                <a:gd name="T16" fmla="*/ 73 w 73"/>
                <a:gd name="T17" fmla="*/ 91 h 91"/>
                <a:gd name="T18" fmla="*/ 73 w 73"/>
                <a:gd name="T19" fmla="*/ 82 h 91"/>
                <a:gd name="T20" fmla="*/ 65 w 73"/>
                <a:gd name="T21" fmla="*/ 82 h 91"/>
                <a:gd name="T22" fmla="*/ 65 w 73"/>
                <a:gd name="T23" fmla="*/ 54 h 91"/>
                <a:gd name="T24" fmla="*/ 38 w 73"/>
                <a:gd name="T25" fmla="*/ 26 h 91"/>
                <a:gd name="T26" fmla="*/ 19 w 73"/>
                <a:gd name="T27" fmla="*/ 35 h 91"/>
                <a:gd name="T28" fmla="*/ 19 w 73"/>
                <a:gd name="T29" fmla="*/ 0 h 91"/>
                <a:gd name="T30" fmla="*/ 0 w 73"/>
                <a:gd name="T31" fmla="*/ 0 h 91"/>
                <a:gd name="T32" fmla="*/ 0 w 73"/>
                <a:gd name="T33" fmla="*/ 8 h 91"/>
                <a:gd name="T34" fmla="*/ 9 w 73"/>
                <a:gd name="T35" fmla="*/ 8 h 91"/>
                <a:gd name="T36" fmla="*/ 9 w 73"/>
                <a:gd name="T37" fmla="*/ 82 h 91"/>
                <a:gd name="T38" fmla="*/ 0 w 73"/>
                <a:gd name="T39" fmla="*/ 82 h 91"/>
                <a:gd name="T40" fmla="*/ 0 w 73"/>
                <a:gd name="T41" fmla="*/ 91 h 91"/>
                <a:gd name="T42" fmla="*/ 27 w 73"/>
                <a:gd name="T43" fmla="*/ 91 h 91"/>
                <a:gd name="T44" fmla="*/ 27 w 73"/>
                <a:gd name="T45" fmla="*/ 8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3" h="91">
                  <a:moveTo>
                    <a:pt x="27" y="82"/>
                  </a:moveTo>
                  <a:cubicBezTo>
                    <a:pt x="19" y="82"/>
                    <a:pt x="19" y="82"/>
                    <a:pt x="19" y="82"/>
                  </a:cubicBezTo>
                  <a:cubicBezTo>
                    <a:pt x="19" y="54"/>
                    <a:pt x="19" y="54"/>
                    <a:pt x="19" y="54"/>
                  </a:cubicBezTo>
                  <a:cubicBezTo>
                    <a:pt x="19" y="41"/>
                    <a:pt x="25" y="35"/>
                    <a:pt x="37" y="35"/>
                  </a:cubicBezTo>
                  <a:cubicBezTo>
                    <a:pt x="48" y="35"/>
                    <a:pt x="55" y="41"/>
                    <a:pt x="55" y="54"/>
                  </a:cubicBezTo>
                  <a:cubicBezTo>
                    <a:pt x="55" y="82"/>
                    <a:pt x="55" y="82"/>
                    <a:pt x="55" y="82"/>
                  </a:cubicBezTo>
                  <a:cubicBezTo>
                    <a:pt x="46" y="82"/>
                    <a:pt x="46" y="82"/>
                    <a:pt x="46" y="82"/>
                  </a:cubicBezTo>
                  <a:cubicBezTo>
                    <a:pt x="46" y="91"/>
                    <a:pt x="46" y="91"/>
                    <a:pt x="46" y="91"/>
                  </a:cubicBezTo>
                  <a:cubicBezTo>
                    <a:pt x="73" y="91"/>
                    <a:pt x="73" y="91"/>
                    <a:pt x="73" y="91"/>
                  </a:cubicBezTo>
                  <a:cubicBezTo>
                    <a:pt x="73" y="82"/>
                    <a:pt x="73" y="82"/>
                    <a:pt x="73" y="82"/>
                  </a:cubicBezTo>
                  <a:cubicBezTo>
                    <a:pt x="65" y="82"/>
                    <a:pt x="65" y="82"/>
                    <a:pt x="65" y="82"/>
                  </a:cubicBezTo>
                  <a:cubicBezTo>
                    <a:pt x="65" y="54"/>
                    <a:pt x="65" y="54"/>
                    <a:pt x="65" y="54"/>
                  </a:cubicBezTo>
                  <a:cubicBezTo>
                    <a:pt x="65" y="39"/>
                    <a:pt x="55" y="26"/>
                    <a:pt x="38" y="26"/>
                  </a:cubicBezTo>
                  <a:cubicBezTo>
                    <a:pt x="30" y="26"/>
                    <a:pt x="23" y="29"/>
                    <a:pt x="19" y="35"/>
                  </a:cubicBezTo>
                  <a:cubicBezTo>
                    <a:pt x="19" y="0"/>
                    <a:pt x="19" y="0"/>
                    <a:pt x="19" y="0"/>
                  </a:cubicBezTo>
                  <a:cubicBezTo>
                    <a:pt x="0" y="0"/>
                    <a:pt x="0" y="0"/>
                    <a:pt x="0" y="0"/>
                  </a:cubicBezTo>
                  <a:cubicBezTo>
                    <a:pt x="0" y="8"/>
                    <a:pt x="0" y="8"/>
                    <a:pt x="0" y="8"/>
                  </a:cubicBezTo>
                  <a:cubicBezTo>
                    <a:pt x="9" y="8"/>
                    <a:pt x="9" y="8"/>
                    <a:pt x="9" y="8"/>
                  </a:cubicBezTo>
                  <a:cubicBezTo>
                    <a:pt x="9" y="82"/>
                    <a:pt x="9" y="82"/>
                    <a:pt x="9" y="82"/>
                  </a:cubicBezTo>
                  <a:cubicBezTo>
                    <a:pt x="0" y="82"/>
                    <a:pt x="0" y="82"/>
                    <a:pt x="0" y="82"/>
                  </a:cubicBezTo>
                  <a:cubicBezTo>
                    <a:pt x="0" y="91"/>
                    <a:pt x="0" y="91"/>
                    <a:pt x="0" y="91"/>
                  </a:cubicBezTo>
                  <a:cubicBezTo>
                    <a:pt x="27" y="91"/>
                    <a:pt x="27" y="91"/>
                    <a:pt x="27" y="91"/>
                  </a:cubicBezTo>
                  <a:lnTo>
                    <a:pt x="27"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18" name="Freeform 7">
              <a:extLst>
                <a:ext uri="{FF2B5EF4-FFF2-40B4-BE49-F238E27FC236}">
                  <a16:creationId xmlns:a16="http://schemas.microsoft.com/office/drawing/2014/main" id="{3CB93BBE-80DA-457D-B72D-9C9C5E5B8688}"/>
                </a:ext>
              </a:extLst>
            </p:cNvPr>
            <p:cNvSpPr>
              <a:spLocks noEditPoints="1"/>
            </p:cNvSpPr>
            <p:nvPr/>
          </p:nvSpPr>
          <p:spPr bwMode="auto">
            <a:xfrm>
              <a:off x="6419850" y="3111500"/>
              <a:ext cx="822325" cy="750888"/>
            </a:xfrm>
            <a:custGeom>
              <a:avLst/>
              <a:gdLst>
                <a:gd name="T0" fmla="*/ 73 w 73"/>
                <a:gd name="T1" fmla="*/ 10 h 66"/>
                <a:gd name="T2" fmla="*/ 73 w 73"/>
                <a:gd name="T3" fmla="*/ 2 h 66"/>
                <a:gd name="T4" fmla="*/ 54 w 73"/>
                <a:gd name="T5" fmla="*/ 2 h 66"/>
                <a:gd name="T6" fmla="*/ 54 w 73"/>
                <a:gd name="T7" fmla="*/ 11 h 66"/>
                <a:gd name="T8" fmla="*/ 31 w 73"/>
                <a:gd name="T9" fmla="*/ 0 h 66"/>
                <a:gd name="T10" fmla="*/ 0 w 73"/>
                <a:gd name="T11" fmla="*/ 33 h 66"/>
                <a:gd name="T12" fmla="*/ 31 w 73"/>
                <a:gd name="T13" fmla="*/ 66 h 66"/>
                <a:gd name="T14" fmla="*/ 54 w 73"/>
                <a:gd name="T15" fmla="*/ 55 h 66"/>
                <a:gd name="T16" fmla="*/ 54 w 73"/>
                <a:gd name="T17" fmla="*/ 65 h 66"/>
                <a:gd name="T18" fmla="*/ 73 w 73"/>
                <a:gd name="T19" fmla="*/ 65 h 66"/>
                <a:gd name="T20" fmla="*/ 73 w 73"/>
                <a:gd name="T21" fmla="*/ 56 h 66"/>
                <a:gd name="T22" fmla="*/ 64 w 73"/>
                <a:gd name="T23" fmla="*/ 56 h 66"/>
                <a:gd name="T24" fmla="*/ 64 w 73"/>
                <a:gd name="T25" fmla="*/ 10 h 66"/>
                <a:gd name="T26" fmla="*/ 73 w 73"/>
                <a:gd name="T27" fmla="*/ 10 h 66"/>
                <a:gd name="T28" fmla="*/ 33 w 73"/>
                <a:gd name="T29" fmla="*/ 58 h 66"/>
                <a:gd name="T30" fmla="*/ 11 w 73"/>
                <a:gd name="T31" fmla="*/ 33 h 66"/>
                <a:gd name="T32" fmla="*/ 33 w 73"/>
                <a:gd name="T33" fmla="*/ 9 h 66"/>
                <a:gd name="T34" fmla="*/ 54 w 73"/>
                <a:gd name="T35" fmla="*/ 33 h 66"/>
                <a:gd name="T36" fmla="*/ 33 w 73"/>
                <a:gd name="T37" fmla="*/ 5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3" h="66">
                  <a:moveTo>
                    <a:pt x="73" y="10"/>
                  </a:moveTo>
                  <a:cubicBezTo>
                    <a:pt x="73" y="2"/>
                    <a:pt x="73" y="2"/>
                    <a:pt x="73" y="2"/>
                  </a:cubicBezTo>
                  <a:cubicBezTo>
                    <a:pt x="54" y="2"/>
                    <a:pt x="54" y="2"/>
                    <a:pt x="54" y="2"/>
                  </a:cubicBezTo>
                  <a:cubicBezTo>
                    <a:pt x="54" y="11"/>
                    <a:pt x="54" y="11"/>
                    <a:pt x="54" y="11"/>
                  </a:cubicBezTo>
                  <a:cubicBezTo>
                    <a:pt x="49" y="4"/>
                    <a:pt x="41" y="0"/>
                    <a:pt x="31" y="0"/>
                  </a:cubicBezTo>
                  <a:cubicBezTo>
                    <a:pt x="13" y="0"/>
                    <a:pt x="0" y="14"/>
                    <a:pt x="0" y="33"/>
                  </a:cubicBezTo>
                  <a:cubicBezTo>
                    <a:pt x="0" y="52"/>
                    <a:pt x="13" y="66"/>
                    <a:pt x="31" y="66"/>
                  </a:cubicBezTo>
                  <a:cubicBezTo>
                    <a:pt x="41" y="66"/>
                    <a:pt x="49" y="62"/>
                    <a:pt x="54" y="55"/>
                  </a:cubicBezTo>
                  <a:cubicBezTo>
                    <a:pt x="54" y="65"/>
                    <a:pt x="54" y="65"/>
                    <a:pt x="54" y="65"/>
                  </a:cubicBezTo>
                  <a:cubicBezTo>
                    <a:pt x="73" y="65"/>
                    <a:pt x="73" y="65"/>
                    <a:pt x="73" y="65"/>
                  </a:cubicBezTo>
                  <a:cubicBezTo>
                    <a:pt x="73" y="56"/>
                    <a:pt x="73" y="56"/>
                    <a:pt x="73" y="56"/>
                  </a:cubicBezTo>
                  <a:cubicBezTo>
                    <a:pt x="64" y="56"/>
                    <a:pt x="64" y="56"/>
                    <a:pt x="64" y="56"/>
                  </a:cubicBezTo>
                  <a:cubicBezTo>
                    <a:pt x="64" y="10"/>
                    <a:pt x="64" y="10"/>
                    <a:pt x="64" y="10"/>
                  </a:cubicBezTo>
                  <a:lnTo>
                    <a:pt x="73" y="10"/>
                  </a:lnTo>
                  <a:close/>
                  <a:moveTo>
                    <a:pt x="33" y="58"/>
                  </a:moveTo>
                  <a:cubicBezTo>
                    <a:pt x="20" y="58"/>
                    <a:pt x="11" y="47"/>
                    <a:pt x="11" y="33"/>
                  </a:cubicBezTo>
                  <a:cubicBezTo>
                    <a:pt x="11" y="19"/>
                    <a:pt x="20" y="9"/>
                    <a:pt x="33" y="9"/>
                  </a:cubicBezTo>
                  <a:cubicBezTo>
                    <a:pt x="46" y="9"/>
                    <a:pt x="54" y="19"/>
                    <a:pt x="54" y="33"/>
                  </a:cubicBezTo>
                  <a:cubicBezTo>
                    <a:pt x="54" y="47"/>
                    <a:pt x="46" y="58"/>
                    <a:pt x="33" y="5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19" name="Freeform 8">
              <a:extLst>
                <a:ext uri="{FF2B5EF4-FFF2-40B4-BE49-F238E27FC236}">
                  <a16:creationId xmlns:a16="http://schemas.microsoft.com/office/drawing/2014/main" id="{0D49BCB4-A340-471B-971A-24BD033C7F38}"/>
                </a:ext>
              </a:extLst>
            </p:cNvPr>
            <p:cNvSpPr>
              <a:spLocks noEditPoints="1"/>
            </p:cNvSpPr>
            <p:nvPr/>
          </p:nvSpPr>
          <p:spPr bwMode="auto">
            <a:xfrm>
              <a:off x="5608638" y="3111500"/>
              <a:ext cx="731838" cy="750888"/>
            </a:xfrm>
            <a:custGeom>
              <a:avLst/>
              <a:gdLst>
                <a:gd name="T0" fmla="*/ 65 w 65"/>
                <a:gd name="T1" fmla="*/ 32 h 66"/>
                <a:gd name="T2" fmla="*/ 33 w 65"/>
                <a:gd name="T3" fmla="*/ 0 h 66"/>
                <a:gd name="T4" fmla="*/ 0 w 65"/>
                <a:gd name="T5" fmla="*/ 33 h 66"/>
                <a:gd name="T6" fmla="*/ 33 w 65"/>
                <a:gd name="T7" fmla="*/ 66 h 66"/>
                <a:gd name="T8" fmla="*/ 63 w 65"/>
                <a:gd name="T9" fmla="*/ 48 h 66"/>
                <a:gd name="T10" fmla="*/ 53 w 65"/>
                <a:gd name="T11" fmla="*/ 48 h 66"/>
                <a:gd name="T12" fmla="*/ 34 w 65"/>
                <a:gd name="T13" fmla="*/ 58 h 66"/>
                <a:gd name="T14" fmla="*/ 11 w 65"/>
                <a:gd name="T15" fmla="*/ 37 h 66"/>
                <a:gd name="T16" fmla="*/ 65 w 65"/>
                <a:gd name="T17" fmla="*/ 37 h 66"/>
                <a:gd name="T18" fmla="*/ 65 w 65"/>
                <a:gd name="T19" fmla="*/ 32 h 66"/>
                <a:gd name="T20" fmla="*/ 11 w 65"/>
                <a:gd name="T21" fmla="*/ 28 h 66"/>
                <a:gd name="T22" fmla="*/ 33 w 65"/>
                <a:gd name="T23" fmla="*/ 8 h 66"/>
                <a:gd name="T24" fmla="*/ 55 w 65"/>
                <a:gd name="T25" fmla="*/ 28 h 66"/>
                <a:gd name="T26" fmla="*/ 11 w 65"/>
                <a:gd name="T27"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5" h="66">
                  <a:moveTo>
                    <a:pt x="65" y="32"/>
                  </a:moveTo>
                  <a:cubicBezTo>
                    <a:pt x="65" y="13"/>
                    <a:pt x="53" y="0"/>
                    <a:pt x="33" y="0"/>
                  </a:cubicBezTo>
                  <a:cubicBezTo>
                    <a:pt x="14" y="0"/>
                    <a:pt x="0" y="14"/>
                    <a:pt x="0" y="33"/>
                  </a:cubicBezTo>
                  <a:cubicBezTo>
                    <a:pt x="0" y="53"/>
                    <a:pt x="14" y="66"/>
                    <a:pt x="33" y="66"/>
                  </a:cubicBezTo>
                  <a:cubicBezTo>
                    <a:pt x="47" y="66"/>
                    <a:pt x="58" y="59"/>
                    <a:pt x="63" y="48"/>
                  </a:cubicBezTo>
                  <a:cubicBezTo>
                    <a:pt x="53" y="48"/>
                    <a:pt x="53" y="48"/>
                    <a:pt x="53" y="48"/>
                  </a:cubicBezTo>
                  <a:cubicBezTo>
                    <a:pt x="50" y="54"/>
                    <a:pt x="43" y="58"/>
                    <a:pt x="34" y="58"/>
                  </a:cubicBezTo>
                  <a:cubicBezTo>
                    <a:pt x="19" y="58"/>
                    <a:pt x="12" y="49"/>
                    <a:pt x="11" y="37"/>
                  </a:cubicBezTo>
                  <a:cubicBezTo>
                    <a:pt x="65" y="37"/>
                    <a:pt x="65" y="37"/>
                    <a:pt x="65" y="37"/>
                  </a:cubicBezTo>
                  <a:lnTo>
                    <a:pt x="65" y="32"/>
                  </a:lnTo>
                  <a:close/>
                  <a:moveTo>
                    <a:pt x="11" y="28"/>
                  </a:moveTo>
                  <a:cubicBezTo>
                    <a:pt x="12" y="17"/>
                    <a:pt x="20" y="8"/>
                    <a:pt x="33" y="8"/>
                  </a:cubicBezTo>
                  <a:cubicBezTo>
                    <a:pt x="47" y="8"/>
                    <a:pt x="54" y="18"/>
                    <a:pt x="55" y="28"/>
                  </a:cubicBezTo>
                  <a:lnTo>
                    <a:pt x="11"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20" name="Freeform 9">
              <a:extLst>
                <a:ext uri="{FF2B5EF4-FFF2-40B4-BE49-F238E27FC236}">
                  <a16:creationId xmlns:a16="http://schemas.microsoft.com/office/drawing/2014/main" id="{0C4938EB-CD7A-497C-9BA4-5CD6B3F08D8E}"/>
                </a:ext>
              </a:extLst>
            </p:cNvPr>
            <p:cNvSpPr>
              <a:spLocks/>
            </p:cNvSpPr>
            <p:nvPr/>
          </p:nvSpPr>
          <p:spPr bwMode="auto">
            <a:xfrm>
              <a:off x="7613650" y="2952750"/>
              <a:ext cx="360363" cy="898525"/>
            </a:xfrm>
            <a:custGeom>
              <a:avLst/>
              <a:gdLst>
                <a:gd name="T0" fmla="*/ 20 w 32"/>
                <a:gd name="T1" fmla="*/ 62 h 79"/>
                <a:gd name="T2" fmla="*/ 20 w 32"/>
                <a:gd name="T3" fmla="*/ 24 h 79"/>
                <a:gd name="T4" fmla="*/ 32 w 32"/>
                <a:gd name="T5" fmla="*/ 24 h 79"/>
                <a:gd name="T6" fmla="*/ 32 w 32"/>
                <a:gd name="T7" fmla="*/ 16 h 79"/>
                <a:gd name="T8" fmla="*/ 20 w 32"/>
                <a:gd name="T9" fmla="*/ 16 h 79"/>
                <a:gd name="T10" fmla="*/ 20 w 32"/>
                <a:gd name="T11" fmla="*/ 0 h 79"/>
                <a:gd name="T12" fmla="*/ 9 w 32"/>
                <a:gd name="T13" fmla="*/ 0 h 79"/>
                <a:gd name="T14" fmla="*/ 9 w 32"/>
                <a:gd name="T15" fmla="*/ 16 h 79"/>
                <a:gd name="T16" fmla="*/ 0 w 32"/>
                <a:gd name="T17" fmla="*/ 16 h 79"/>
                <a:gd name="T18" fmla="*/ 0 w 32"/>
                <a:gd name="T19" fmla="*/ 24 h 79"/>
                <a:gd name="T20" fmla="*/ 9 w 32"/>
                <a:gd name="T21" fmla="*/ 24 h 79"/>
                <a:gd name="T22" fmla="*/ 9 w 32"/>
                <a:gd name="T23" fmla="*/ 63 h 79"/>
                <a:gd name="T24" fmla="*/ 26 w 32"/>
                <a:gd name="T25" fmla="*/ 79 h 79"/>
                <a:gd name="T26" fmla="*/ 32 w 32"/>
                <a:gd name="T27" fmla="*/ 79 h 79"/>
                <a:gd name="T28" fmla="*/ 32 w 32"/>
                <a:gd name="T29" fmla="*/ 70 h 79"/>
                <a:gd name="T30" fmla="*/ 27 w 32"/>
                <a:gd name="T31" fmla="*/ 71 h 79"/>
                <a:gd name="T32" fmla="*/ 20 w 32"/>
                <a:gd name="T33" fmla="*/ 6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79">
                  <a:moveTo>
                    <a:pt x="20" y="62"/>
                  </a:moveTo>
                  <a:cubicBezTo>
                    <a:pt x="20" y="24"/>
                    <a:pt x="20" y="24"/>
                    <a:pt x="20" y="24"/>
                  </a:cubicBezTo>
                  <a:cubicBezTo>
                    <a:pt x="32" y="24"/>
                    <a:pt x="32" y="24"/>
                    <a:pt x="32" y="24"/>
                  </a:cubicBezTo>
                  <a:cubicBezTo>
                    <a:pt x="32" y="16"/>
                    <a:pt x="32" y="16"/>
                    <a:pt x="32" y="16"/>
                  </a:cubicBezTo>
                  <a:cubicBezTo>
                    <a:pt x="20" y="16"/>
                    <a:pt x="20" y="16"/>
                    <a:pt x="20" y="16"/>
                  </a:cubicBezTo>
                  <a:cubicBezTo>
                    <a:pt x="20" y="0"/>
                    <a:pt x="20" y="0"/>
                    <a:pt x="20" y="0"/>
                  </a:cubicBezTo>
                  <a:cubicBezTo>
                    <a:pt x="9" y="0"/>
                    <a:pt x="9" y="0"/>
                    <a:pt x="9" y="0"/>
                  </a:cubicBezTo>
                  <a:cubicBezTo>
                    <a:pt x="9" y="16"/>
                    <a:pt x="9" y="16"/>
                    <a:pt x="9" y="16"/>
                  </a:cubicBezTo>
                  <a:cubicBezTo>
                    <a:pt x="0" y="16"/>
                    <a:pt x="0" y="16"/>
                    <a:pt x="0" y="16"/>
                  </a:cubicBezTo>
                  <a:cubicBezTo>
                    <a:pt x="0" y="24"/>
                    <a:pt x="0" y="24"/>
                    <a:pt x="0" y="24"/>
                  </a:cubicBezTo>
                  <a:cubicBezTo>
                    <a:pt x="9" y="24"/>
                    <a:pt x="9" y="24"/>
                    <a:pt x="9" y="24"/>
                  </a:cubicBezTo>
                  <a:cubicBezTo>
                    <a:pt x="9" y="63"/>
                    <a:pt x="9" y="63"/>
                    <a:pt x="9" y="63"/>
                  </a:cubicBezTo>
                  <a:cubicBezTo>
                    <a:pt x="9" y="74"/>
                    <a:pt x="14" y="79"/>
                    <a:pt x="26" y="79"/>
                  </a:cubicBezTo>
                  <a:cubicBezTo>
                    <a:pt x="28" y="79"/>
                    <a:pt x="31" y="79"/>
                    <a:pt x="32" y="79"/>
                  </a:cubicBezTo>
                  <a:cubicBezTo>
                    <a:pt x="32" y="70"/>
                    <a:pt x="32" y="70"/>
                    <a:pt x="32" y="70"/>
                  </a:cubicBezTo>
                  <a:cubicBezTo>
                    <a:pt x="30" y="71"/>
                    <a:pt x="29" y="71"/>
                    <a:pt x="27" y="71"/>
                  </a:cubicBezTo>
                  <a:cubicBezTo>
                    <a:pt x="22" y="71"/>
                    <a:pt x="20" y="69"/>
                    <a:pt x="20" y="6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21" name="Freeform 10">
              <a:extLst>
                <a:ext uri="{FF2B5EF4-FFF2-40B4-BE49-F238E27FC236}">
                  <a16:creationId xmlns:a16="http://schemas.microsoft.com/office/drawing/2014/main" id="{38FB080F-C58C-4388-AF4B-47AA97CFE9F5}"/>
                </a:ext>
              </a:extLst>
            </p:cNvPr>
            <p:cNvSpPr>
              <a:spLocks/>
            </p:cNvSpPr>
            <p:nvPr/>
          </p:nvSpPr>
          <p:spPr bwMode="auto">
            <a:xfrm>
              <a:off x="7275513" y="2816225"/>
              <a:ext cx="338138" cy="1035050"/>
            </a:xfrm>
            <a:custGeom>
              <a:avLst/>
              <a:gdLst>
                <a:gd name="T0" fmla="*/ 24 w 30"/>
                <a:gd name="T1" fmla="*/ 91 h 91"/>
                <a:gd name="T2" fmla="*/ 30 w 30"/>
                <a:gd name="T3" fmla="*/ 91 h 91"/>
                <a:gd name="T4" fmla="*/ 30 w 30"/>
                <a:gd name="T5" fmla="*/ 82 h 91"/>
                <a:gd name="T6" fmla="*/ 26 w 30"/>
                <a:gd name="T7" fmla="*/ 83 h 91"/>
                <a:gd name="T8" fmla="*/ 19 w 30"/>
                <a:gd name="T9" fmla="*/ 74 h 91"/>
                <a:gd name="T10" fmla="*/ 19 w 30"/>
                <a:gd name="T11" fmla="*/ 0 h 91"/>
                <a:gd name="T12" fmla="*/ 0 w 30"/>
                <a:gd name="T13" fmla="*/ 0 h 91"/>
                <a:gd name="T14" fmla="*/ 0 w 30"/>
                <a:gd name="T15" fmla="*/ 8 h 91"/>
                <a:gd name="T16" fmla="*/ 9 w 30"/>
                <a:gd name="T17" fmla="*/ 8 h 91"/>
                <a:gd name="T18" fmla="*/ 9 w 30"/>
                <a:gd name="T19" fmla="*/ 74 h 91"/>
                <a:gd name="T20" fmla="*/ 24 w 30"/>
                <a:gd name="T21"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91">
                  <a:moveTo>
                    <a:pt x="24" y="91"/>
                  </a:moveTo>
                  <a:cubicBezTo>
                    <a:pt x="26" y="91"/>
                    <a:pt x="29" y="91"/>
                    <a:pt x="30" y="91"/>
                  </a:cubicBezTo>
                  <a:cubicBezTo>
                    <a:pt x="30" y="82"/>
                    <a:pt x="30" y="82"/>
                    <a:pt x="30" y="82"/>
                  </a:cubicBezTo>
                  <a:cubicBezTo>
                    <a:pt x="28" y="83"/>
                    <a:pt x="27" y="83"/>
                    <a:pt x="26" y="83"/>
                  </a:cubicBezTo>
                  <a:cubicBezTo>
                    <a:pt x="21" y="83"/>
                    <a:pt x="19" y="80"/>
                    <a:pt x="19" y="74"/>
                  </a:cubicBezTo>
                  <a:cubicBezTo>
                    <a:pt x="19" y="0"/>
                    <a:pt x="19" y="0"/>
                    <a:pt x="19" y="0"/>
                  </a:cubicBezTo>
                  <a:cubicBezTo>
                    <a:pt x="0" y="0"/>
                    <a:pt x="0" y="0"/>
                    <a:pt x="0" y="0"/>
                  </a:cubicBezTo>
                  <a:cubicBezTo>
                    <a:pt x="0" y="8"/>
                    <a:pt x="0" y="8"/>
                    <a:pt x="0" y="8"/>
                  </a:cubicBezTo>
                  <a:cubicBezTo>
                    <a:pt x="9" y="8"/>
                    <a:pt x="9" y="8"/>
                    <a:pt x="9" y="8"/>
                  </a:cubicBezTo>
                  <a:cubicBezTo>
                    <a:pt x="9" y="74"/>
                    <a:pt x="9" y="74"/>
                    <a:pt x="9" y="74"/>
                  </a:cubicBezTo>
                  <a:cubicBezTo>
                    <a:pt x="9" y="85"/>
                    <a:pt x="13" y="91"/>
                    <a:pt x="24" y="91"/>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22" name="Freeform 11">
              <a:extLst>
                <a:ext uri="{FF2B5EF4-FFF2-40B4-BE49-F238E27FC236}">
                  <a16:creationId xmlns:a16="http://schemas.microsoft.com/office/drawing/2014/main" id="{BAF44958-70BD-4D20-94BC-622DD0D8A8D3}"/>
                </a:ext>
              </a:extLst>
            </p:cNvPr>
            <p:cNvSpPr>
              <a:spLocks/>
            </p:cNvSpPr>
            <p:nvPr/>
          </p:nvSpPr>
          <p:spPr bwMode="auto">
            <a:xfrm>
              <a:off x="3603625" y="2781300"/>
              <a:ext cx="911225" cy="1092200"/>
            </a:xfrm>
            <a:custGeom>
              <a:avLst/>
              <a:gdLst>
                <a:gd name="T0" fmla="*/ 28 w 81"/>
                <a:gd name="T1" fmla="*/ 65 h 96"/>
                <a:gd name="T2" fmla="*/ 41 w 81"/>
                <a:gd name="T3" fmla="*/ 74 h 96"/>
                <a:gd name="T4" fmla="*/ 52 w 81"/>
                <a:gd name="T5" fmla="*/ 68 h 96"/>
                <a:gd name="T6" fmla="*/ 36 w 81"/>
                <a:gd name="T7" fmla="*/ 59 h 96"/>
                <a:gd name="T8" fmla="*/ 12 w 81"/>
                <a:gd name="T9" fmla="*/ 50 h 96"/>
                <a:gd name="T10" fmla="*/ 1 w 81"/>
                <a:gd name="T11" fmla="*/ 29 h 96"/>
                <a:gd name="T12" fmla="*/ 39 w 81"/>
                <a:gd name="T13" fmla="*/ 0 h 96"/>
                <a:gd name="T14" fmla="*/ 78 w 81"/>
                <a:gd name="T15" fmla="*/ 29 h 96"/>
                <a:gd name="T16" fmla="*/ 51 w 81"/>
                <a:gd name="T17" fmla="*/ 29 h 96"/>
                <a:gd name="T18" fmla="*/ 39 w 81"/>
                <a:gd name="T19" fmla="*/ 21 h 96"/>
                <a:gd name="T20" fmla="*/ 30 w 81"/>
                <a:gd name="T21" fmla="*/ 27 h 96"/>
                <a:gd name="T22" fmla="*/ 43 w 81"/>
                <a:gd name="T23" fmla="*/ 35 h 96"/>
                <a:gd name="T24" fmla="*/ 69 w 81"/>
                <a:gd name="T25" fmla="*/ 43 h 96"/>
                <a:gd name="T26" fmla="*/ 81 w 81"/>
                <a:gd name="T27" fmla="*/ 65 h 96"/>
                <a:gd name="T28" fmla="*/ 40 w 81"/>
                <a:gd name="T29" fmla="*/ 96 h 96"/>
                <a:gd name="T30" fmla="*/ 0 w 81"/>
                <a:gd name="T31" fmla="*/ 65 h 96"/>
                <a:gd name="T32" fmla="*/ 28 w 81"/>
                <a:gd name="T33" fmla="*/ 6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 h="96">
                  <a:moveTo>
                    <a:pt x="28" y="65"/>
                  </a:moveTo>
                  <a:cubicBezTo>
                    <a:pt x="29" y="72"/>
                    <a:pt x="33" y="74"/>
                    <a:pt x="41" y="74"/>
                  </a:cubicBezTo>
                  <a:cubicBezTo>
                    <a:pt x="48" y="74"/>
                    <a:pt x="52" y="72"/>
                    <a:pt x="52" y="68"/>
                  </a:cubicBezTo>
                  <a:cubicBezTo>
                    <a:pt x="52" y="62"/>
                    <a:pt x="47" y="62"/>
                    <a:pt x="36" y="59"/>
                  </a:cubicBezTo>
                  <a:cubicBezTo>
                    <a:pt x="24" y="55"/>
                    <a:pt x="15" y="53"/>
                    <a:pt x="12" y="50"/>
                  </a:cubicBezTo>
                  <a:cubicBezTo>
                    <a:pt x="5" y="45"/>
                    <a:pt x="1" y="38"/>
                    <a:pt x="1" y="29"/>
                  </a:cubicBezTo>
                  <a:cubicBezTo>
                    <a:pt x="1" y="11"/>
                    <a:pt x="15" y="0"/>
                    <a:pt x="39" y="0"/>
                  </a:cubicBezTo>
                  <a:cubicBezTo>
                    <a:pt x="63" y="0"/>
                    <a:pt x="77" y="10"/>
                    <a:pt x="78" y="29"/>
                  </a:cubicBezTo>
                  <a:cubicBezTo>
                    <a:pt x="51" y="29"/>
                    <a:pt x="51" y="29"/>
                    <a:pt x="51" y="29"/>
                  </a:cubicBezTo>
                  <a:cubicBezTo>
                    <a:pt x="50" y="23"/>
                    <a:pt x="46" y="21"/>
                    <a:pt x="39" y="21"/>
                  </a:cubicBezTo>
                  <a:cubicBezTo>
                    <a:pt x="33" y="21"/>
                    <a:pt x="30" y="23"/>
                    <a:pt x="30" y="27"/>
                  </a:cubicBezTo>
                  <a:cubicBezTo>
                    <a:pt x="30" y="32"/>
                    <a:pt x="34" y="33"/>
                    <a:pt x="43" y="35"/>
                  </a:cubicBezTo>
                  <a:cubicBezTo>
                    <a:pt x="54" y="38"/>
                    <a:pt x="63" y="40"/>
                    <a:pt x="69" y="43"/>
                  </a:cubicBezTo>
                  <a:cubicBezTo>
                    <a:pt x="77" y="49"/>
                    <a:pt x="81" y="55"/>
                    <a:pt x="81" y="65"/>
                  </a:cubicBezTo>
                  <a:cubicBezTo>
                    <a:pt x="81" y="84"/>
                    <a:pt x="66" y="96"/>
                    <a:pt x="40" y="96"/>
                  </a:cubicBezTo>
                  <a:cubicBezTo>
                    <a:pt x="16" y="96"/>
                    <a:pt x="1" y="84"/>
                    <a:pt x="0" y="65"/>
                  </a:cubicBezTo>
                  <a:lnTo>
                    <a:pt x="28" y="65"/>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23" name="Freeform 12">
              <a:extLst>
                <a:ext uri="{FF2B5EF4-FFF2-40B4-BE49-F238E27FC236}">
                  <a16:creationId xmlns:a16="http://schemas.microsoft.com/office/drawing/2014/main" id="{6178D6E0-263D-45AD-BE10-D95989C192BE}"/>
                </a:ext>
              </a:extLst>
            </p:cNvPr>
            <p:cNvSpPr>
              <a:spLocks/>
            </p:cNvSpPr>
            <p:nvPr/>
          </p:nvSpPr>
          <p:spPr bwMode="auto">
            <a:xfrm>
              <a:off x="1698625" y="2781300"/>
              <a:ext cx="1014413" cy="1092200"/>
            </a:xfrm>
            <a:custGeom>
              <a:avLst/>
              <a:gdLst>
                <a:gd name="T0" fmla="*/ 90 w 90"/>
                <a:gd name="T1" fmla="*/ 58 h 96"/>
                <a:gd name="T2" fmla="*/ 46 w 90"/>
                <a:gd name="T3" fmla="*/ 96 h 96"/>
                <a:gd name="T4" fmla="*/ 0 w 90"/>
                <a:gd name="T5" fmla="*/ 48 h 96"/>
                <a:gd name="T6" fmla="*/ 46 w 90"/>
                <a:gd name="T7" fmla="*/ 0 h 96"/>
                <a:gd name="T8" fmla="*/ 89 w 90"/>
                <a:gd name="T9" fmla="*/ 37 h 96"/>
                <a:gd name="T10" fmla="*/ 62 w 90"/>
                <a:gd name="T11" fmla="*/ 37 h 96"/>
                <a:gd name="T12" fmla="*/ 46 w 90"/>
                <a:gd name="T13" fmla="*/ 23 h 96"/>
                <a:gd name="T14" fmla="*/ 29 w 90"/>
                <a:gd name="T15" fmla="*/ 48 h 96"/>
                <a:gd name="T16" fmla="*/ 47 w 90"/>
                <a:gd name="T17" fmla="*/ 73 h 96"/>
                <a:gd name="T18" fmla="*/ 62 w 90"/>
                <a:gd name="T19" fmla="*/ 58 h 96"/>
                <a:gd name="T20" fmla="*/ 90 w 90"/>
                <a:gd name="T21" fmla="*/ 5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 h="96">
                  <a:moveTo>
                    <a:pt x="90" y="58"/>
                  </a:moveTo>
                  <a:cubicBezTo>
                    <a:pt x="88" y="82"/>
                    <a:pt x="72" y="96"/>
                    <a:pt x="46" y="96"/>
                  </a:cubicBezTo>
                  <a:cubicBezTo>
                    <a:pt x="17" y="96"/>
                    <a:pt x="0" y="78"/>
                    <a:pt x="0" y="48"/>
                  </a:cubicBezTo>
                  <a:cubicBezTo>
                    <a:pt x="0" y="18"/>
                    <a:pt x="17" y="0"/>
                    <a:pt x="46" y="0"/>
                  </a:cubicBezTo>
                  <a:cubicBezTo>
                    <a:pt x="72" y="0"/>
                    <a:pt x="88" y="13"/>
                    <a:pt x="89" y="37"/>
                  </a:cubicBezTo>
                  <a:cubicBezTo>
                    <a:pt x="62" y="37"/>
                    <a:pt x="62" y="37"/>
                    <a:pt x="62" y="37"/>
                  </a:cubicBezTo>
                  <a:cubicBezTo>
                    <a:pt x="61" y="28"/>
                    <a:pt x="55" y="23"/>
                    <a:pt x="46" y="23"/>
                  </a:cubicBezTo>
                  <a:cubicBezTo>
                    <a:pt x="35" y="23"/>
                    <a:pt x="29" y="31"/>
                    <a:pt x="29" y="48"/>
                  </a:cubicBezTo>
                  <a:cubicBezTo>
                    <a:pt x="29" y="65"/>
                    <a:pt x="35" y="73"/>
                    <a:pt x="47" y="73"/>
                  </a:cubicBezTo>
                  <a:cubicBezTo>
                    <a:pt x="56" y="73"/>
                    <a:pt x="61" y="68"/>
                    <a:pt x="62" y="58"/>
                  </a:cubicBezTo>
                  <a:lnTo>
                    <a:pt x="90" y="58"/>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24" name="Freeform 13">
              <a:extLst>
                <a:ext uri="{FF2B5EF4-FFF2-40B4-BE49-F238E27FC236}">
                  <a16:creationId xmlns:a16="http://schemas.microsoft.com/office/drawing/2014/main" id="{5E418160-22DA-431A-9B45-BDEDF2B7B5AF}"/>
                </a:ext>
              </a:extLst>
            </p:cNvPr>
            <p:cNvSpPr>
              <a:spLocks/>
            </p:cNvSpPr>
            <p:nvPr/>
          </p:nvSpPr>
          <p:spPr bwMode="auto">
            <a:xfrm>
              <a:off x="2644775" y="2816225"/>
              <a:ext cx="1014413" cy="1023938"/>
            </a:xfrm>
            <a:custGeom>
              <a:avLst/>
              <a:gdLst>
                <a:gd name="T0" fmla="*/ 0 w 639"/>
                <a:gd name="T1" fmla="*/ 0 h 645"/>
                <a:gd name="T2" fmla="*/ 206 w 639"/>
                <a:gd name="T3" fmla="*/ 0 h 645"/>
                <a:gd name="T4" fmla="*/ 320 w 639"/>
                <a:gd name="T5" fmla="*/ 415 h 645"/>
                <a:gd name="T6" fmla="*/ 433 w 639"/>
                <a:gd name="T7" fmla="*/ 0 h 645"/>
                <a:gd name="T8" fmla="*/ 639 w 639"/>
                <a:gd name="T9" fmla="*/ 0 h 645"/>
                <a:gd name="T10" fmla="*/ 419 w 639"/>
                <a:gd name="T11" fmla="*/ 645 h 645"/>
                <a:gd name="T12" fmla="*/ 213 w 639"/>
                <a:gd name="T13" fmla="*/ 645 h 645"/>
                <a:gd name="T14" fmla="*/ 0 w 639"/>
                <a:gd name="T15" fmla="*/ 0 h 6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9" h="645">
                  <a:moveTo>
                    <a:pt x="0" y="0"/>
                  </a:moveTo>
                  <a:lnTo>
                    <a:pt x="206" y="0"/>
                  </a:lnTo>
                  <a:lnTo>
                    <a:pt x="320" y="415"/>
                  </a:lnTo>
                  <a:lnTo>
                    <a:pt x="433" y="0"/>
                  </a:lnTo>
                  <a:lnTo>
                    <a:pt x="639" y="0"/>
                  </a:lnTo>
                  <a:lnTo>
                    <a:pt x="419" y="645"/>
                  </a:lnTo>
                  <a:lnTo>
                    <a:pt x="213" y="645"/>
                  </a:lnTo>
                  <a:lnTo>
                    <a:pt x="0" y="0"/>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25" name="Freeform 14">
              <a:extLst>
                <a:ext uri="{FF2B5EF4-FFF2-40B4-BE49-F238E27FC236}">
                  <a16:creationId xmlns:a16="http://schemas.microsoft.com/office/drawing/2014/main" id="{91A4F274-1376-4B3F-9106-428B3F243841}"/>
                </a:ext>
              </a:extLst>
            </p:cNvPr>
            <p:cNvSpPr>
              <a:spLocks/>
            </p:cNvSpPr>
            <p:nvPr/>
          </p:nvSpPr>
          <p:spPr bwMode="auto">
            <a:xfrm>
              <a:off x="279400" y="2781300"/>
              <a:ext cx="1295400" cy="1092200"/>
            </a:xfrm>
            <a:custGeom>
              <a:avLst/>
              <a:gdLst>
                <a:gd name="T0" fmla="*/ 4 w 115"/>
                <a:gd name="T1" fmla="*/ 42 h 96"/>
                <a:gd name="T2" fmla="*/ 0 w 115"/>
                <a:gd name="T3" fmla="*/ 33 h 96"/>
                <a:gd name="T4" fmla="*/ 4 w 115"/>
                <a:gd name="T5" fmla="*/ 23 h 96"/>
                <a:gd name="T6" fmla="*/ 22 w 115"/>
                <a:gd name="T7" fmla="*/ 4 h 96"/>
                <a:gd name="T8" fmla="*/ 32 w 115"/>
                <a:gd name="T9" fmla="*/ 0 h 96"/>
                <a:gd name="T10" fmla="*/ 42 w 115"/>
                <a:gd name="T11" fmla="*/ 4 h 96"/>
                <a:gd name="T12" fmla="*/ 58 w 115"/>
                <a:gd name="T13" fmla="*/ 20 h 96"/>
                <a:gd name="T14" fmla="*/ 73 w 115"/>
                <a:gd name="T15" fmla="*/ 4 h 96"/>
                <a:gd name="T16" fmla="*/ 83 w 115"/>
                <a:gd name="T17" fmla="*/ 0 h 96"/>
                <a:gd name="T18" fmla="*/ 93 w 115"/>
                <a:gd name="T19" fmla="*/ 4 h 96"/>
                <a:gd name="T20" fmla="*/ 111 w 115"/>
                <a:gd name="T21" fmla="*/ 23 h 96"/>
                <a:gd name="T22" fmla="*/ 115 w 115"/>
                <a:gd name="T23" fmla="*/ 33 h 96"/>
                <a:gd name="T24" fmla="*/ 111 w 115"/>
                <a:gd name="T25" fmla="*/ 42 h 96"/>
                <a:gd name="T26" fmla="*/ 58 w 115"/>
                <a:gd name="T27" fmla="*/ 96 h 96"/>
                <a:gd name="T28" fmla="*/ 57 w 115"/>
                <a:gd name="T29" fmla="*/ 96 h 96"/>
                <a:gd name="T30" fmla="*/ 4 w 115"/>
                <a:gd name="T31"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 h="96">
                  <a:moveTo>
                    <a:pt x="4" y="42"/>
                  </a:moveTo>
                  <a:cubicBezTo>
                    <a:pt x="1" y="40"/>
                    <a:pt x="0" y="36"/>
                    <a:pt x="0" y="33"/>
                  </a:cubicBezTo>
                  <a:cubicBezTo>
                    <a:pt x="0" y="29"/>
                    <a:pt x="1" y="25"/>
                    <a:pt x="4" y="23"/>
                  </a:cubicBezTo>
                  <a:cubicBezTo>
                    <a:pt x="22" y="4"/>
                    <a:pt x="22" y="4"/>
                    <a:pt x="22" y="4"/>
                  </a:cubicBezTo>
                  <a:cubicBezTo>
                    <a:pt x="25" y="1"/>
                    <a:pt x="29" y="0"/>
                    <a:pt x="32" y="0"/>
                  </a:cubicBezTo>
                  <a:cubicBezTo>
                    <a:pt x="36" y="0"/>
                    <a:pt x="39" y="1"/>
                    <a:pt x="42" y="4"/>
                  </a:cubicBezTo>
                  <a:cubicBezTo>
                    <a:pt x="58" y="20"/>
                    <a:pt x="58" y="20"/>
                    <a:pt x="58" y="20"/>
                  </a:cubicBezTo>
                  <a:cubicBezTo>
                    <a:pt x="73" y="4"/>
                    <a:pt x="73" y="4"/>
                    <a:pt x="73" y="4"/>
                  </a:cubicBezTo>
                  <a:cubicBezTo>
                    <a:pt x="76" y="1"/>
                    <a:pt x="79" y="0"/>
                    <a:pt x="83" y="0"/>
                  </a:cubicBezTo>
                  <a:cubicBezTo>
                    <a:pt x="87" y="0"/>
                    <a:pt x="90" y="1"/>
                    <a:pt x="93" y="4"/>
                  </a:cubicBezTo>
                  <a:cubicBezTo>
                    <a:pt x="111" y="23"/>
                    <a:pt x="111" y="23"/>
                    <a:pt x="111" y="23"/>
                  </a:cubicBezTo>
                  <a:cubicBezTo>
                    <a:pt x="114" y="25"/>
                    <a:pt x="115" y="29"/>
                    <a:pt x="115" y="33"/>
                  </a:cubicBezTo>
                  <a:cubicBezTo>
                    <a:pt x="115" y="36"/>
                    <a:pt x="114" y="40"/>
                    <a:pt x="111" y="42"/>
                  </a:cubicBezTo>
                  <a:cubicBezTo>
                    <a:pt x="58" y="96"/>
                    <a:pt x="58" y="96"/>
                    <a:pt x="58" y="96"/>
                  </a:cubicBezTo>
                  <a:cubicBezTo>
                    <a:pt x="57" y="96"/>
                    <a:pt x="57" y="96"/>
                    <a:pt x="57" y="96"/>
                  </a:cubicBezTo>
                  <a:lnTo>
                    <a:pt x="4" y="42"/>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grpSp>
    </p:spTree>
    <p:extLst>
      <p:ext uri="{BB962C8B-B14F-4D97-AF65-F5344CB8AC3E}">
        <p14:creationId xmlns:p14="http://schemas.microsoft.com/office/powerpoint/2010/main" val="807305569"/>
      </p:ext>
    </p:extLst>
  </p:cSld>
  <p:clrMap bg1="lt1" tx1="dk1" bg2="lt2" tx2="dk2" accent1="accent1" accent2="accent2" accent3="accent3" accent4="accent4" accent5="accent5" accent6="accent6" hlink="hlink" folHlink="folHlink"/>
  <p:sldLayoutIdLst>
    <p:sldLayoutId id="2147483773" r:id="rId1"/>
    <p:sldLayoutId id="2147483815" r:id="rId2"/>
    <p:sldLayoutId id="2147483804" r:id="rId3"/>
    <p:sldLayoutId id="2147483775" r:id="rId4"/>
    <p:sldLayoutId id="2147483776" r:id="rId5"/>
    <p:sldLayoutId id="2147483777" r:id="rId6"/>
    <p:sldLayoutId id="2147483805" r:id="rId7"/>
    <p:sldLayoutId id="2147483806" r:id="rId8"/>
    <p:sldLayoutId id="2147483808" r:id="rId9"/>
    <p:sldLayoutId id="2147483807" r:id="rId10"/>
    <p:sldLayoutId id="2147483814" r:id="rId11"/>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txStyles>
    <p:titleStyle>
      <a:lvl1pPr algn="l" defTabSz="914400" rtl="0" eaLnBrk="1" latinLnBrk="0" hangingPunct="1">
        <a:lnSpc>
          <a:spcPct val="90000"/>
        </a:lnSpc>
        <a:spcBef>
          <a:spcPct val="0"/>
        </a:spcBef>
        <a:buNone/>
        <a:defRPr sz="2800" b="0" i="0" kern="1200">
          <a:solidFill>
            <a:schemeClr val="accent2"/>
          </a:solidFill>
          <a:latin typeface="+mj-lt"/>
          <a:ea typeface="Open Sans" panose="020B0606030504020204" pitchFamily="34" charset="0"/>
          <a:cs typeface="Open Sans" panose="020B0606030504020204" pitchFamily="34" charset="0"/>
        </a:defRPr>
      </a:lvl1pPr>
    </p:titleStyle>
    <p:body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1.xml"/><Relationship Id="rId7" Type="http://schemas.openxmlformats.org/officeDocument/2006/relationships/image" Target="../media/image4.jpeg"/><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2.emf"/><Relationship Id="rId5" Type="http://schemas.openxmlformats.org/officeDocument/2006/relationships/oleObject" Target="../embeddings/oleObject13.bin"/><Relationship Id="rId4" Type="http://schemas.openxmlformats.org/officeDocument/2006/relationships/notesSlide" Target="../notesSlides/notesSlide1.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2.emf"/><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slide" Target="slide2.xml"/><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2" Type="http://schemas.openxmlformats.org/officeDocument/2006/relationships/slide" Target="slide2.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4193333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14" name="think-cell Slide" r:id="rId5" imgW="498" imgH="499" progId="TCLayout.ActiveDocument.1">
                  <p:embed/>
                </p:oleObj>
              </mc:Choice>
              <mc:Fallback>
                <p:oleObj name="think-cell Slide" r:id="rId5" imgW="498" imgH="499"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ctrTitle"/>
          </p:nvPr>
        </p:nvSpPr>
        <p:spPr/>
        <p:txBody>
          <a:bodyPr/>
          <a:lstStyle/>
          <a:p>
            <a:r>
              <a:rPr lang="en-US" sz="6000" dirty="0">
                <a:latin typeface="Arial" panose="020B0604020202020204" pitchFamily="34" charset="0"/>
                <a:cs typeface="Arial" panose="020B0604020202020204" pitchFamily="34" charset="0"/>
                <a:sym typeface="Arial" panose="020B0604020202020204" pitchFamily="34" charset="0"/>
              </a:rPr>
              <a:t>Health Fund Administration Business Canvas</a:t>
            </a:r>
          </a:p>
        </p:txBody>
      </p:sp>
      <p:sp>
        <p:nvSpPr>
          <p:cNvPr id="5" name="Text Placeholder 4"/>
          <p:cNvSpPr>
            <a:spLocks noGrp="1"/>
          </p:cNvSpPr>
          <p:nvPr>
            <p:ph type="body" sz="quarter" idx="13"/>
          </p:nvPr>
        </p:nvSpPr>
        <p:spPr/>
        <p:txBody>
          <a:bodyPr/>
          <a:lstStyle/>
          <a:p>
            <a:r>
              <a:rPr lang="en-US" dirty="0">
                <a:latin typeface="Arial" panose="020B0604020202020204" pitchFamily="34" charset="0"/>
                <a:cs typeface="Arial" panose="020B0604020202020204" pitchFamily="34" charset="0"/>
                <a:sym typeface="Arial" panose="020B0604020202020204" pitchFamily="34" charset="0"/>
              </a:rPr>
              <a:t>April 2019</a:t>
            </a:r>
          </a:p>
        </p:txBody>
      </p:sp>
      <p:pic>
        <p:nvPicPr>
          <p:cNvPr id="14" name="Picture 13"/>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7752080" y="0"/>
            <a:ext cx="4436745" cy="3429000"/>
          </a:xfrm>
          <a:prstGeom prst="rect">
            <a:avLst/>
          </a:prstGeom>
        </p:spPr>
      </p:pic>
      <p:sp>
        <p:nvSpPr>
          <p:cNvPr id="15" name="Rectangle 14">
            <a:extLst>
              <a:ext uri="{FF2B5EF4-FFF2-40B4-BE49-F238E27FC236}">
                <a16:creationId xmlns:a16="http://schemas.microsoft.com/office/drawing/2014/main" id="{18E5268C-C141-4840-9D00-CD333097B788}"/>
              </a:ext>
            </a:extLst>
          </p:cNvPr>
          <p:cNvSpPr/>
          <p:nvPr/>
        </p:nvSpPr>
        <p:spPr>
          <a:xfrm>
            <a:off x="7749346" y="3314331"/>
            <a:ext cx="4442653" cy="52993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64008" rIns="0" bIns="45720" numCol="1" spcCol="0" rtlCol="0" fromWordArt="0" anchor="ctr" anchorCtr="0" forceAA="0" compatLnSpc="1">
            <a:prstTxWarp prst="textNoShape">
              <a:avLst/>
            </a:prstTxWarp>
            <a:noAutofit/>
          </a:bodyPr>
          <a:lstStyle/>
          <a:p>
            <a:pPr algn="ctr">
              <a:lnSpc>
                <a:spcPct val="85000"/>
              </a:lnSpc>
            </a:pPr>
            <a:r>
              <a:rPr lang="en-US" sz="1600" b="1" dirty="0">
                <a:solidFill>
                  <a:schemeClr val="accent2"/>
                </a:solidFill>
                <a:latin typeface="Arial" panose="020B0604020202020204" pitchFamily="34" charset="0"/>
                <a:cs typeface="Arial" panose="020B0604020202020204" pitchFamily="34" charset="0"/>
                <a:sym typeface="Arial" panose="020B0604020202020204" pitchFamily="34" charset="0"/>
              </a:rPr>
              <a:t>Systems Planning</a:t>
            </a:r>
          </a:p>
        </p:txBody>
      </p:sp>
      <p:sp>
        <p:nvSpPr>
          <p:cNvPr id="16" name="Rectangle 15"/>
          <p:cNvSpPr/>
          <p:nvPr/>
        </p:nvSpPr>
        <p:spPr>
          <a:xfrm>
            <a:off x="7749346" y="3283084"/>
            <a:ext cx="4442654" cy="74842"/>
          </a:xfrm>
          <a:prstGeom prst="rect">
            <a:avLst/>
          </a:prstGeom>
          <a:solidFill>
            <a:srgbClr val="043B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Arial" panose="020B0604020202020204" pitchFamily="34" charset="0"/>
              <a:cs typeface="Arial" panose="020B0604020202020204" pitchFamily="34" charset="0"/>
              <a:sym typeface="Arial" panose="020B0604020202020204" pitchFamily="34" charset="0"/>
            </a:endParaRPr>
          </a:p>
        </p:txBody>
      </p:sp>
      <p:sp>
        <p:nvSpPr>
          <p:cNvPr id="17" name="Rectangle 16"/>
          <p:cNvSpPr/>
          <p:nvPr/>
        </p:nvSpPr>
        <p:spPr>
          <a:xfrm>
            <a:off x="7749345" y="3799295"/>
            <a:ext cx="4442654" cy="74842"/>
          </a:xfrm>
          <a:prstGeom prst="rect">
            <a:avLst/>
          </a:prstGeom>
          <a:solidFill>
            <a:srgbClr val="043B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Arial" panose="020B0604020202020204" pitchFamily="34" charset="0"/>
              <a:cs typeface="Arial" panose="020B0604020202020204" pitchFamily="34" charset="0"/>
              <a:sym typeface="Arial" panose="020B0604020202020204" pitchFamily="34" charset="0"/>
            </a:endParaRPr>
          </a:p>
        </p:txBody>
      </p:sp>
      <p:pic>
        <p:nvPicPr>
          <p:cNvPr id="18" name="Picture 17"/>
          <p:cNvPicPr>
            <a:picLocks noChangeAspect="1"/>
          </p:cNvPicPr>
          <p:nvPr/>
        </p:nvPicPr>
        <p:blipFill>
          <a:blip r:embed="rId8"/>
          <a:stretch>
            <a:fillRect/>
          </a:stretch>
        </p:blipFill>
        <p:spPr>
          <a:xfrm>
            <a:off x="8096675" y="3403488"/>
            <a:ext cx="426894" cy="364733"/>
          </a:xfrm>
          <a:prstGeom prst="rect">
            <a:avLst/>
          </a:prstGeom>
        </p:spPr>
      </p:pic>
    </p:spTree>
    <p:extLst>
      <p:ext uri="{BB962C8B-B14F-4D97-AF65-F5344CB8AC3E}">
        <p14:creationId xmlns:p14="http://schemas.microsoft.com/office/powerpoint/2010/main" val="133584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7" name="Group 56">
            <a:extLst>
              <a:ext uri="{FF2B5EF4-FFF2-40B4-BE49-F238E27FC236}">
                <a16:creationId xmlns:a16="http://schemas.microsoft.com/office/drawing/2014/main" id="{11BABD6D-07B8-445A-BBE5-B96C2417B0BC}"/>
              </a:ext>
            </a:extLst>
          </p:cNvPr>
          <p:cNvGrpSpPr/>
          <p:nvPr/>
        </p:nvGrpSpPr>
        <p:grpSpPr>
          <a:xfrm>
            <a:off x="497149" y="1639697"/>
            <a:ext cx="11194739" cy="4593678"/>
            <a:chOff x="497149" y="1639697"/>
            <a:chExt cx="11194739" cy="4593678"/>
          </a:xfrm>
        </p:grpSpPr>
        <p:sp>
          <p:nvSpPr>
            <p:cNvPr id="22" name="TextBox 21">
              <a:extLst>
                <a:ext uri="{FF2B5EF4-FFF2-40B4-BE49-F238E27FC236}">
                  <a16:creationId xmlns:a16="http://schemas.microsoft.com/office/drawing/2014/main" id="{39F2A279-C025-414A-A9FC-A0F11D339A1E}"/>
                </a:ext>
              </a:extLst>
            </p:cNvPr>
            <p:cNvSpPr txBox="1"/>
            <p:nvPr/>
          </p:nvSpPr>
          <p:spPr>
            <a:xfrm>
              <a:off x="7205624" y="3196435"/>
              <a:ext cx="2244656" cy="1612768"/>
            </a:xfrm>
            <a:prstGeom prst="rect">
              <a:avLst/>
            </a:prstGeom>
            <a:noFill/>
            <a:ln>
              <a:solidFill>
                <a:schemeClr val="tx1"/>
              </a:solidFill>
            </a:ln>
          </p:spPr>
          <p:txBody>
            <a:bodyPr wrap="square" lIns="0" tIns="0" rIns="0" bIns="0" rtlCol="0">
              <a:noAutofit/>
            </a:bodyPr>
            <a:lstStyle/>
            <a:p>
              <a:pPr algn="ctr" defTabSz="456758" fontAlgn="base">
                <a:spcBef>
                  <a:spcPts val="1200"/>
                </a:spcBef>
              </a:pPr>
              <a:r>
                <a:rPr lang="en-US" sz="1400" b="1" dirty="0">
                  <a:cs typeface="Open Sans Light"/>
                </a:rPr>
                <a:t>Channels</a:t>
              </a:r>
            </a:p>
          </p:txBody>
        </p:sp>
        <p:grpSp>
          <p:nvGrpSpPr>
            <p:cNvPr id="8" name="Group 7">
              <a:extLst>
                <a:ext uri="{FF2B5EF4-FFF2-40B4-BE49-F238E27FC236}">
                  <a16:creationId xmlns:a16="http://schemas.microsoft.com/office/drawing/2014/main" id="{D2B246F5-8915-4322-A502-D385D2F4D50C}"/>
                </a:ext>
              </a:extLst>
            </p:cNvPr>
            <p:cNvGrpSpPr/>
            <p:nvPr/>
          </p:nvGrpSpPr>
          <p:grpSpPr>
            <a:xfrm>
              <a:off x="2729883" y="1646139"/>
              <a:ext cx="2237169" cy="1730751"/>
              <a:chOff x="2729883" y="1846556"/>
              <a:chExt cx="2237169" cy="1349407"/>
            </a:xfrm>
          </p:grpSpPr>
          <p:sp>
            <p:nvSpPr>
              <p:cNvPr id="18" name="TextBox 17">
                <a:extLst>
                  <a:ext uri="{FF2B5EF4-FFF2-40B4-BE49-F238E27FC236}">
                    <a16:creationId xmlns:a16="http://schemas.microsoft.com/office/drawing/2014/main" id="{72A78C51-56DA-401E-BD94-28EE8597FE01}"/>
                  </a:ext>
                </a:extLst>
              </p:cNvPr>
              <p:cNvSpPr txBox="1"/>
              <p:nvPr/>
            </p:nvSpPr>
            <p:spPr>
              <a:xfrm>
                <a:off x="2729883" y="1846556"/>
                <a:ext cx="2237169" cy="1349407"/>
              </a:xfrm>
              <a:prstGeom prst="rect">
                <a:avLst/>
              </a:prstGeom>
              <a:noFill/>
              <a:ln>
                <a:solidFill>
                  <a:schemeClr val="tx1"/>
                </a:solidFill>
              </a:ln>
            </p:spPr>
            <p:txBody>
              <a:bodyPr wrap="square" lIns="0" tIns="0" rIns="0" bIns="0" rtlCol="0">
                <a:noAutofit/>
              </a:bodyPr>
              <a:lstStyle/>
              <a:p>
                <a:pPr algn="ctr" defTabSz="456758" fontAlgn="base">
                  <a:spcBef>
                    <a:spcPts val="1200"/>
                  </a:spcBef>
                </a:pPr>
                <a:r>
                  <a:rPr lang="en-US" sz="1400" b="1" dirty="0">
                    <a:solidFill>
                      <a:schemeClr val="tx2"/>
                    </a:solidFill>
                    <a:cs typeface="Open Sans Light"/>
                  </a:rPr>
                  <a:t>Key Activities</a:t>
                </a:r>
              </a:p>
            </p:txBody>
          </p:sp>
          <p:sp>
            <p:nvSpPr>
              <p:cNvPr id="58" name="Rectangle: Rounded Corners 57">
                <a:hlinkClick r:id="rId5" action="ppaction://hlinksldjump" tooltip="What key activities does our value proposition require us to perform?"/>
                <a:extLst>
                  <a:ext uri="{FF2B5EF4-FFF2-40B4-BE49-F238E27FC236}">
                    <a16:creationId xmlns:a16="http://schemas.microsoft.com/office/drawing/2014/main" id="{D13A2AB4-3052-4DFB-ABBB-8BAFC8C43B10}"/>
                  </a:ext>
                </a:extLst>
              </p:cNvPr>
              <p:cNvSpPr/>
              <p:nvPr/>
            </p:nvSpPr>
            <p:spPr>
              <a:xfrm>
                <a:off x="3235162" y="1863631"/>
                <a:ext cx="1226607" cy="184646"/>
              </a:xfrm>
              <a:prstGeom prst="round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latin typeface="+mj-lt"/>
                  <a:cs typeface="Open Sans Bold"/>
                </a:endParaRPr>
              </a:p>
            </p:txBody>
          </p:sp>
        </p:grpSp>
        <p:grpSp>
          <p:nvGrpSpPr>
            <p:cNvPr id="11" name="Group 10">
              <a:extLst>
                <a:ext uri="{FF2B5EF4-FFF2-40B4-BE49-F238E27FC236}">
                  <a16:creationId xmlns:a16="http://schemas.microsoft.com/office/drawing/2014/main" id="{29F65AF2-CE9B-445B-AEAD-9F9693C67F22}"/>
                </a:ext>
              </a:extLst>
            </p:cNvPr>
            <p:cNvGrpSpPr/>
            <p:nvPr/>
          </p:nvGrpSpPr>
          <p:grpSpPr>
            <a:xfrm>
              <a:off x="9452503" y="1646139"/>
              <a:ext cx="2239385" cy="3163063"/>
              <a:chOff x="9452503" y="1840418"/>
              <a:chExt cx="2239385" cy="2740166"/>
            </a:xfrm>
          </p:grpSpPr>
          <p:sp>
            <p:nvSpPr>
              <p:cNvPr id="19" name="TextBox 18">
                <a:extLst>
                  <a:ext uri="{FF2B5EF4-FFF2-40B4-BE49-F238E27FC236}">
                    <a16:creationId xmlns:a16="http://schemas.microsoft.com/office/drawing/2014/main" id="{FEA11D69-3879-4CCB-BAC8-6104091602CD}"/>
                  </a:ext>
                </a:extLst>
              </p:cNvPr>
              <p:cNvSpPr txBox="1"/>
              <p:nvPr/>
            </p:nvSpPr>
            <p:spPr>
              <a:xfrm>
                <a:off x="9452503" y="1840418"/>
                <a:ext cx="2239385" cy="2740166"/>
              </a:xfrm>
              <a:prstGeom prst="rect">
                <a:avLst/>
              </a:prstGeom>
              <a:noFill/>
              <a:ln>
                <a:solidFill>
                  <a:schemeClr val="tx1"/>
                </a:solidFill>
              </a:ln>
            </p:spPr>
            <p:txBody>
              <a:bodyPr wrap="square" lIns="0" tIns="0" rIns="0" bIns="0" rtlCol="0">
                <a:noAutofit/>
              </a:bodyPr>
              <a:lstStyle/>
              <a:p>
                <a:pPr algn="ctr" defTabSz="456758" fontAlgn="base">
                  <a:spcBef>
                    <a:spcPts val="1200"/>
                  </a:spcBef>
                </a:pPr>
                <a:r>
                  <a:rPr lang="en-US" sz="1400" b="1" dirty="0">
                    <a:solidFill>
                      <a:schemeClr val="tx2"/>
                    </a:solidFill>
                    <a:cs typeface="Open Sans Light"/>
                  </a:rPr>
                  <a:t>Customer Segment</a:t>
                </a:r>
              </a:p>
            </p:txBody>
          </p:sp>
          <p:sp>
            <p:nvSpPr>
              <p:cNvPr id="59" name="Rectangle: Rounded Corners 58">
                <a:hlinkClick r:id="rId5" action="ppaction://hlinksldjump" tooltip="Who we sell to? For whom are we creating value?  Which are our most important customer segments?"/>
                <a:extLst>
                  <a:ext uri="{FF2B5EF4-FFF2-40B4-BE49-F238E27FC236}">
                    <a16:creationId xmlns:a16="http://schemas.microsoft.com/office/drawing/2014/main" id="{B1DC479A-E330-42C0-82CE-A4B676077103}"/>
                  </a:ext>
                </a:extLst>
              </p:cNvPr>
              <p:cNvSpPr/>
              <p:nvPr/>
            </p:nvSpPr>
            <p:spPr>
              <a:xfrm>
                <a:off x="9706186" y="1843666"/>
                <a:ext cx="1723814" cy="204611"/>
              </a:xfrm>
              <a:prstGeom prst="round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latin typeface="+mj-lt"/>
                  <a:cs typeface="Open Sans Bold"/>
                </a:endParaRPr>
              </a:p>
            </p:txBody>
          </p:sp>
        </p:grpSp>
        <p:grpSp>
          <p:nvGrpSpPr>
            <p:cNvPr id="12" name="Group 11">
              <a:extLst>
                <a:ext uri="{FF2B5EF4-FFF2-40B4-BE49-F238E27FC236}">
                  <a16:creationId xmlns:a16="http://schemas.microsoft.com/office/drawing/2014/main" id="{A8FD1D55-6CCA-4864-8D89-B975E3B16B81}"/>
                </a:ext>
              </a:extLst>
            </p:cNvPr>
            <p:cNvGrpSpPr/>
            <p:nvPr/>
          </p:nvGrpSpPr>
          <p:grpSpPr>
            <a:xfrm>
              <a:off x="6093037" y="4809623"/>
              <a:ext cx="5598851" cy="1423752"/>
              <a:chOff x="6093037" y="4586949"/>
              <a:chExt cx="5598851" cy="1646426"/>
            </a:xfrm>
          </p:grpSpPr>
          <p:sp>
            <p:nvSpPr>
              <p:cNvPr id="23" name="TextBox 22">
                <a:extLst>
                  <a:ext uri="{FF2B5EF4-FFF2-40B4-BE49-F238E27FC236}">
                    <a16:creationId xmlns:a16="http://schemas.microsoft.com/office/drawing/2014/main" id="{7E00DCEC-069C-4C4E-84BA-825262ABB16E}"/>
                  </a:ext>
                </a:extLst>
              </p:cNvPr>
              <p:cNvSpPr txBox="1"/>
              <p:nvPr/>
            </p:nvSpPr>
            <p:spPr>
              <a:xfrm>
                <a:off x="6093037" y="4586949"/>
                <a:ext cx="5598851" cy="1646426"/>
              </a:xfrm>
              <a:prstGeom prst="rect">
                <a:avLst/>
              </a:prstGeom>
              <a:noFill/>
              <a:ln>
                <a:solidFill>
                  <a:schemeClr val="tx1"/>
                </a:solidFill>
              </a:ln>
            </p:spPr>
            <p:txBody>
              <a:bodyPr wrap="square" lIns="0" tIns="0" rIns="0" bIns="0" rtlCol="0">
                <a:noAutofit/>
              </a:bodyPr>
              <a:lstStyle/>
              <a:p>
                <a:pPr algn="ctr" defTabSz="456758" fontAlgn="base">
                  <a:spcBef>
                    <a:spcPts val="1200"/>
                  </a:spcBef>
                </a:pPr>
                <a:r>
                  <a:rPr lang="en-US" sz="1400" b="1" dirty="0">
                    <a:solidFill>
                      <a:schemeClr val="tx2"/>
                    </a:solidFill>
                    <a:cs typeface="Open Sans Light"/>
                  </a:rPr>
                  <a:t>Revenue Streams</a:t>
                </a:r>
              </a:p>
            </p:txBody>
          </p:sp>
          <p:sp>
            <p:nvSpPr>
              <p:cNvPr id="69" name="Rectangle: Rounded Corners 68">
                <a:hlinkClick r:id="rId5" action="ppaction://hlinksldjump" tooltip="For what value do our customers currently pay?  For what value would they be willing to pay? How are our customers currently paying? How would they prefer to pay?  How much does each revenue stream contribute to overall revenues?"/>
                <a:extLst>
                  <a:ext uri="{FF2B5EF4-FFF2-40B4-BE49-F238E27FC236}">
                    <a16:creationId xmlns:a16="http://schemas.microsoft.com/office/drawing/2014/main" id="{8D54B643-F559-45A1-BEA5-9CBA17BB034A}"/>
                  </a:ext>
                </a:extLst>
              </p:cNvPr>
              <p:cNvSpPr/>
              <p:nvPr/>
            </p:nvSpPr>
            <p:spPr>
              <a:xfrm>
                <a:off x="8105931" y="4606447"/>
                <a:ext cx="1723814" cy="204611"/>
              </a:xfrm>
              <a:prstGeom prst="round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latin typeface="+mj-lt"/>
                  <a:cs typeface="Open Sans Bold"/>
                </a:endParaRPr>
              </a:p>
            </p:txBody>
          </p:sp>
        </p:grpSp>
        <p:grpSp>
          <p:nvGrpSpPr>
            <p:cNvPr id="14" name="Group 13">
              <a:extLst>
                <a:ext uri="{FF2B5EF4-FFF2-40B4-BE49-F238E27FC236}">
                  <a16:creationId xmlns:a16="http://schemas.microsoft.com/office/drawing/2014/main" id="{E943AF15-8AA0-4EC2-A33B-03549501E2E0}"/>
                </a:ext>
              </a:extLst>
            </p:cNvPr>
            <p:cNvGrpSpPr/>
            <p:nvPr/>
          </p:nvGrpSpPr>
          <p:grpSpPr>
            <a:xfrm>
              <a:off x="2732101" y="3376890"/>
              <a:ext cx="2237169" cy="1434045"/>
              <a:chOff x="2732101" y="3195963"/>
              <a:chExt cx="2237169" cy="1390986"/>
            </a:xfrm>
          </p:grpSpPr>
          <p:sp>
            <p:nvSpPr>
              <p:cNvPr id="21" name="TextBox 20">
                <a:extLst>
                  <a:ext uri="{FF2B5EF4-FFF2-40B4-BE49-F238E27FC236}">
                    <a16:creationId xmlns:a16="http://schemas.microsoft.com/office/drawing/2014/main" id="{B9BCF63C-1DFD-48EA-9435-EE4343DE3D94}"/>
                  </a:ext>
                </a:extLst>
              </p:cNvPr>
              <p:cNvSpPr txBox="1"/>
              <p:nvPr/>
            </p:nvSpPr>
            <p:spPr>
              <a:xfrm>
                <a:off x="2732101" y="3195963"/>
                <a:ext cx="2237169" cy="1390986"/>
              </a:xfrm>
              <a:prstGeom prst="rect">
                <a:avLst/>
              </a:prstGeom>
              <a:noFill/>
              <a:ln>
                <a:solidFill>
                  <a:schemeClr val="tx1"/>
                </a:solidFill>
              </a:ln>
            </p:spPr>
            <p:txBody>
              <a:bodyPr wrap="square" lIns="0" tIns="0" rIns="0" bIns="0" rtlCol="0">
                <a:noAutofit/>
              </a:bodyPr>
              <a:lstStyle/>
              <a:p>
                <a:pPr algn="ctr" defTabSz="456758" fontAlgn="base">
                  <a:spcBef>
                    <a:spcPts val="1200"/>
                  </a:spcBef>
                </a:pPr>
                <a:r>
                  <a:rPr lang="en-US" sz="1400" b="1" dirty="0">
                    <a:solidFill>
                      <a:schemeClr val="tx2"/>
                    </a:solidFill>
                    <a:cs typeface="Open Sans Light"/>
                  </a:rPr>
                  <a:t>Key Resources</a:t>
                </a:r>
              </a:p>
            </p:txBody>
          </p:sp>
          <p:sp>
            <p:nvSpPr>
              <p:cNvPr id="70" name="Rectangle: Rounded Corners 69">
                <a:hlinkClick r:id="rId5" action="ppaction://hlinksldjump" tooltip="What key resources does our value proposition require?  Physical, Intellectual. Human, Financial"/>
                <a:extLst>
                  <a:ext uri="{FF2B5EF4-FFF2-40B4-BE49-F238E27FC236}">
                    <a16:creationId xmlns:a16="http://schemas.microsoft.com/office/drawing/2014/main" id="{4031D6BA-C8FD-475E-8CA2-685B92FB7041}"/>
                  </a:ext>
                </a:extLst>
              </p:cNvPr>
              <p:cNvSpPr/>
              <p:nvPr/>
            </p:nvSpPr>
            <p:spPr>
              <a:xfrm>
                <a:off x="3168713" y="3203229"/>
                <a:ext cx="1351796" cy="185948"/>
              </a:xfrm>
              <a:prstGeom prst="round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latin typeface="+mj-lt"/>
                  <a:cs typeface="Open Sans Bold"/>
                </a:endParaRPr>
              </a:p>
            </p:txBody>
          </p:sp>
        </p:grpSp>
        <p:grpSp>
          <p:nvGrpSpPr>
            <p:cNvPr id="7" name="Group 6">
              <a:extLst>
                <a:ext uri="{FF2B5EF4-FFF2-40B4-BE49-F238E27FC236}">
                  <a16:creationId xmlns:a16="http://schemas.microsoft.com/office/drawing/2014/main" id="{8DC1B6E0-1082-4BF4-8A1F-B2FB557057E3}"/>
                </a:ext>
              </a:extLst>
            </p:cNvPr>
            <p:cNvGrpSpPr/>
            <p:nvPr/>
          </p:nvGrpSpPr>
          <p:grpSpPr>
            <a:xfrm>
              <a:off x="497149" y="1639697"/>
              <a:ext cx="2237169" cy="3171239"/>
              <a:chOff x="497149" y="1846555"/>
              <a:chExt cx="2237169" cy="2740393"/>
            </a:xfrm>
          </p:grpSpPr>
          <p:sp>
            <p:nvSpPr>
              <p:cNvPr id="15" name="TextBox 14">
                <a:extLst>
                  <a:ext uri="{FF2B5EF4-FFF2-40B4-BE49-F238E27FC236}">
                    <a16:creationId xmlns:a16="http://schemas.microsoft.com/office/drawing/2014/main" id="{CEC2180E-ADC9-45E8-ACAC-AA8639D58EB0}"/>
                  </a:ext>
                </a:extLst>
              </p:cNvPr>
              <p:cNvSpPr txBox="1"/>
              <p:nvPr/>
            </p:nvSpPr>
            <p:spPr>
              <a:xfrm>
                <a:off x="497149" y="1846555"/>
                <a:ext cx="2237169" cy="2740393"/>
              </a:xfrm>
              <a:prstGeom prst="rect">
                <a:avLst/>
              </a:prstGeom>
              <a:noFill/>
              <a:ln>
                <a:solidFill>
                  <a:schemeClr val="tx1"/>
                </a:solidFill>
              </a:ln>
            </p:spPr>
            <p:txBody>
              <a:bodyPr wrap="square" lIns="0" tIns="0" rIns="0" bIns="0" rtlCol="0">
                <a:noAutofit/>
              </a:bodyPr>
              <a:lstStyle/>
              <a:p>
                <a:pPr algn="ctr" defTabSz="456758" fontAlgn="base">
                  <a:spcBef>
                    <a:spcPts val="1200"/>
                  </a:spcBef>
                </a:pPr>
                <a:r>
                  <a:rPr lang="en-US" sz="1400" b="1" dirty="0">
                    <a:solidFill>
                      <a:schemeClr val="tx2"/>
                    </a:solidFill>
                    <a:cs typeface="Open Sans Light"/>
                  </a:rPr>
                  <a:t>Key Partnerships</a:t>
                </a:r>
              </a:p>
            </p:txBody>
          </p:sp>
          <p:sp>
            <p:nvSpPr>
              <p:cNvPr id="71" name="Rectangle: Rounded Corners 70">
                <a:hlinkClick r:id="rId5" action="ppaction://hlinksldjump" tooltip="Who are our key partners (e.g., suppliers, complementors)?  Which key resources do we acquire from them?   Which key activities do they perform?"/>
                <a:extLst>
                  <a:ext uri="{FF2B5EF4-FFF2-40B4-BE49-F238E27FC236}">
                    <a16:creationId xmlns:a16="http://schemas.microsoft.com/office/drawing/2014/main" id="{C889C765-194F-4A44-8604-464EABF706B3}"/>
                  </a:ext>
                </a:extLst>
              </p:cNvPr>
              <p:cNvSpPr/>
              <p:nvPr/>
            </p:nvSpPr>
            <p:spPr>
              <a:xfrm>
                <a:off x="807465" y="1852547"/>
                <a:ext cx="1605759" cy="228800"/>
              </a:xfrm>
              <a:prstGeom prst="round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solidFill>
                    <a:schemeClr val="tx1"/>
                  </a:solidFill>
                  <a:latin typeface="+mj-lt"/>
                  <a:cs typeface="Open Sans Bold"/>
                </a:endParaRPr>
              </a:p>
            </p:txBody>
          </p:sp>
        </p:grpSp>
        <p:grpSp>
          <p:nvGrpSpPr>
            <p:cNvPr id="13" name="Group 12">
              <a:extLst>
                <a:ext uri="{FF2B5EF4-FFF2-40B4-BE49-F238E27FC236}">
                  <a16:creationId xmlns:a16="http://schemas.microsoft.com/office/drawing/2014/main" id="{5AC24C0A-D1AD-4072-8188-E40FED0FCEC9}"/>
                </a:ext>
              </a:extLst>
            </p:cNvPr>
            <p:cNvGrpSpPr/>
            <p:nvPr/>
          </p:nvGrpSpPr>
          <p:grpSpPr>
            <a:xfrm>
              <a:off x="497149" y="4809203"/>
              <a:ext cx="5598851" cy="1420197"/>
              <a:chOff x="497149" y="4578569"/>
              <a:chExt cx="5598851" cy="1651221"/>
            </a:xfrm>
          </p:grpSpPr>
          <p:sp>
            <p:nvSpPr>
              <p:cNvPr id="17" name="TextBox 16">
                <a:extLst>
                  <a:ext uri="{FF2B5EF4-FFF2-40B4-BE49-F238E27FC236}">
                    <a16:creationId xmlns:a16="http://schemas.microsoft.com/office/drawing/2014/main" id="{87DD8883-8AB8-4DAB-9896-B97679AB488E}"/>
                  </a:ext>
                </a:extLst>
              </p:cNvPr>
              <p:cNvSpPr txBox="1"/>
              <p:nvPr/>
            </p:nvSpPr>
            <p:spPr>
              <a:xfrm>
                <a:off x="497149" y="4580583"/>
                <a:ext cx="5598851" cy="1649207"/>
              </a:xfrm>
              <a:prstGeom prst="rect">
                <a:avLst/>
              </a:prstGeom>
              <a:noFill/>
              <a:ln>
                <a:solidFill>
                  <a:schemeClr val="tx1"/>
                </a:solidFill>
              </a:ln>
            </p:spPr>
            <p:txBody>
              <a:bodyPr wrap="square" lIns="0" tIns="0" rIns="0" bIns="0" rtlCol="0">
                <a:noAutofit/>
              </a:bodyPr>
              <a:lstStyle/>
              <a:p>
                <a:pPr algn="ctr" defTabSz="456758" fontAlgn="base">
                  <a:spcBef>
                    <a:spcPts val="1200"/>
                  </a:spcBef>
                </a:pPr>
                <a:r>
                  <a:rPr lang="en-US" sz="1400" b="1" dirty="0">
                    <a:solidFill>
                      <a:schemeClr val="tx2"/>
                    </a:solidFill>
                    <a:cs typeface="Open Sans Light"/>
                  </a:rPr>
                  <a:t>Cost Structure</a:t>
                </a:r>
              </a:p>
            </p:txBody>
          </p:sp>
          <p:sp>
            <p:nvSpPr>
              <p:cNvPr id="72" name="Rectangle: Rounded Corners 71">
                <a:hlinkClick r:id="rId5" action="ppaction://hlinksldjump" tooltip="What are the most important costs inherent in our business model?  Which key resources are most expensive?  Which key activities are most expensive?  Which key partnerships are the most expensive to support?"/>
                <a:extLst>
                  <a:ext uri="{FF2B5EF4-FFF2-40B4-BE49-F238E27FC236}">
                    <a16:creationId xmlns:a16="http://schemas.microsoft.com/office/drawing/2014/main" id="{B0879BD1-0F08-4B46-8FA2-7FD84340BC00}"/>
                  </a:ext>
                </a:extLst>
              </p:cNvPr>
              <p:cNvSpPr/>
              <p:nvPr/>
            </p:nvSpPr>
            <p:spPr>
              <a:xfrm>
                <a:off x="2644736" y="4578569"/>
                <a:ext cx="1370190" cy="217512"/>
              </a:xfrm>
              <a:prstGeom prst="round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latin typeface="+mj-lt"/>
                  <a:cs typeface="Open Sans Bold"/>
                </a:endParaRPr>
              </a:p>
            </p:txBody>
          </p:sp>
        </p:grpSp>
        <p:grpSp>
          <p:nvGrpSpPr>
            <p:cNvPr id="10" name="Group 9">
              <a:extLst>
                <a:ext uri="{FF2B5EF4-FFF2-40B4-BE49-F238E27FC236}">
                  <a16:creationId xmlns:a16="http://schemas.microsoft.com/office/drawing/2014/main" id="{E934F27D-2BE9-41F0-B24C-F333EF471F0C}"/>
                </a:ext>
              </a:extLst>
            </p:cNvPr>
            <p:cNvGrpSpPr/>
            <p:nvPr/>
          </p:nvGrpSpPr>
          <p:grpSpPr>
            <a:xfrm>
              <a:off x="7208664" y="1646140"/>
              <a:ext cx="2241615" cy="1558925"/>
              <a:chOff x="7213110" y="1840418"/>
              <a:chExt cx="2237169" cy="1364647"/>
            </a:xfrm>
          </p:grpSpPr>
          <p:sp>
            <p:nvSpPr>
              <p:cNvPr id="20" name="TextBox 19">
                <a:extLst>
                  <a:ext uri="{FF2B5EF4-FFF2-40B4-BE49-F238E27FC236}">
                    <a16:creationId xmlns:a16="http://schemas.microsoft.com/office/drawing/2014/main" id="{9C2F0882-378F-43E3-B718-5F38E6584BD9}"/>
                  </a:ext>
                </a:extLst>
              </p:cNvPr>
              <p:cNvSpPr txBox="1"/>
              <p:nvPr/>
            </p:nvSpPr>
            <p:spPr>
              <a:xfrm>
                <a:off x="7213110" y="1840418"/>
                <a:ext cx="2237169" cy="1364647"/>
              </a:xfrm>
              <a:prstGeom prst="rect">
                <a:avLst/>
              </a:prstGeom>
              <a:noFill/>
              <a:ln>
                <a:solidFill>
                  <a:schemeClr val="tx1"/>
                </a:solidFill>
              </a:ln>
            </p:spPr>
            <p:txBody>
              <a:bodyPr wrap="square" lIns="0" tIns="0" rIns="0" bIns="0" rtlCol="0">
                <a:noAutofit/>
              </a:bodyPr>
              <a:lstStyle/>
              <a:p>
                <a:pPr algn="ctr" defTabSz="456758" fontAlgn="base">
                  <a:spcBef>
                    <a:spcPts val="1200"/>
                  </a:spcBef>
                </a:pPr>
                <a:r>
                  <a:rPr lang="en-US" sz="1400" b="1" dirty="0">
                    <a:solidFill>
                      <a:schemeClr val="tx2"/>
                    </a:solidFill>
                    <a:cs typeface="Open Sans Light"/>
                  </a:rPr>
                  <a:t>Customer Relationships</a:t>
                </a:r>
              </a:p>
            </p:txBody>
          </p:sp>
          <p:sp>
            <p:nvSpPr>
              <p:cNvPr id="73" name="Rectangle: Rounded Corners 72">
                <a:hlinkClick r:id="rId5" action="ppaction://hlinksldjump" tooltip="Who do we service? What types of relationships does each of our customer segments expect us to have with them?  Co-creation?  Face to face?  Phone based?  24/7?  E-mail?"/>
                <a:extLst>
                  <a:ext uri="{FF2B5EF4-FFF2-40B4-BE49-F238E27FC236}">
                    <a16:creationId xmlns:a16="http://schemas.microsoft.com/office/drawing/2014/main" id="{12B87E2E-8F96-4DB5-8674-FED17760E250}"/>
                  </a:ext>
                </a:extLst>
              </p:cNvPr>
              <p:cNvSpPr/>
              <p:nvPr/>
            </p:nvSpPr>
            <p:spPr>
              <a:xfrm>
                <a:off x="7259498" y="1843665"/>
                <a:ext cx="2107857" cy="204611"/>
              </a:xfrm>
              <a:prstGeom prst="round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latin typeface="+mj-lt"/>
                  <a:cs typeface="Open Sans Bold"/>
                </a:endParaRPr>
              </a:p>
            </p:txBody>
          </p:sp>
        </p:grpSp>
        <p:grpSp>
          <p:nvGrpSpPr>
            <p:cNvPr id="9" name="Group 8">
              <a:extLst>
                <a:ext uri="{FF2B5EF4-FFF2-40B4-BE49-F238E27FC236}">
                  <a16:creationId xmlns:a16="http://schemas.microsoft.com/office/drawing/2014/main" id="{CA136DE9-E1DA-4C66-903C-5347699007C6}"/>
                </a:ext>
              </a:extLst>
            </p:cNvPr>
            <p:cNvGrpSpPr/>
            <p:nvPr/>
          </p:nvGrpSpPr>
          <p:grpSpPr>
            <a:xfrm>
              <a:off x="4967053" y="1646140"/>
              <a:ext cx="2241612" cy="3164795"/>
              <a:chOff x="4971495" y="1841673"/>
              <a:chExt cx="2237169" cy="2745276"/>
            </a:xfrm>
          </p:grpSpPr>
          <p:sp>
            <p:nvSpPr>
              <p:cNvPr id="16" name="TextBox 15">
                <a:extLst>
                  <a:ext uri="{FF2B5EF4-FFF2-40B4-BE49-F238E27FC236}">
                    <a16:creationId xmlns:a16="http://schemas.microsoft.com/office/drawing/2014/main" id="{E264B917-4738-4EDA-9C92-C7733ED9246B}"/>
                  </a:ext>
                </a:extLst>
              </p:cNvPr>
              <p:cNvSpPr txBox="1"/>
              <p:nvPr/>
            </p:nvSpPr>
            <p:spPr>
              <a:xfrm>
                <a:off x="4971495" y="1841673"/>
                <a:ext cx="2237169" cy="2745276"/>
              </a:xfrm>
              <a:prstGeom prst="rect">
                <a:avLst/>
              </a:prstGeom>
              <a:noFill/>
              <a:ln>
                <a:solidFill>
                  <a:schemeClr val="tx1"/>
                </a:solidFill>
              </a:ln>
            </p:spPr>
            <p:txBody>
              <a:bodyPr wrap="square" lIns="0" tIns="0" rIns="0" bIns="0" rtlCol="0">
                <a:noAutofit/>
              </a:bodyPr>
              <a:lstStyle/>
              <a:p>
                <a:pPr algn="ctr" defTabSz="456758" fontAlgn="base">
                  <a:spcBef>
                    <a:spcPts val="1200"/>
                  </a:spcBef>
                </a:pPr>
                <a:r>
                  <a:rPr lang="en-US" sz="1400" b="1" dirty="0">
                    <a:solidFill>
                      <a:schemeClr val="tx2"/>
                    </a:solidFill>
                    <a:cs typeface="Open Sans Light"/>
                  </a:rPr>
                  <a:t>Value Proposition</a:t>
                </a:r>
              </a:p>
            </p:txBody>
          </p:sp>
          <p:sp>
            <p:nvSpPr>
              <p:cNvPr id="74" name="Rectangle: Rounded Corners 73">
                <a:hlinkClick r:id="rId5" action="ppaction://hlinksldjump" tooltip="What benefits delivered differentiate us from our competition?  Quantitative (e.g., price, speed of service)  Qualitative (e.g., design, customer experience) What bundles of products and services are we offering to provide that value?"/>
                <a:extLst>
                  <a:ext uri="{FF2B5EF4-FFF2-40B4-BE49-F238E27FC236}">
                    <a16:creationId xmlns:a16="http://schemas.microsoft.com/office/drawing/2014/main" id="{755E4F67-CA0C-46DF-B120-CBF90F7C9730}"/>
                  </a:ext>
                </a:extLst>
              </p:cNvPr>
              <p:cNvSpPr/>
              <p:nvPr/>
            </p:nvSpPr>
            <p:spPr>
              <a:xfrm>
                <a:off x="5251369" y="1851451"/>
                <a:ext cx="1723814" cy="204611"/>
              </a:xfrm>
              <a:prstGeom prst="round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latin typeface="+mj-lt"/>
                  <a:cs typeface="Open Sans Bold"/>
                </a:endParaRPr>
              </a:p>
            </p:txBody>
          </p:sp>
        </p:grpSp>
      </p:grpSp>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9479023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38" name="think-cell Slide" r:id="rId6" imgW="498" imgH="499" progId="TCLayout.ActiveDocument.1">
                  <p:embed/>
                </p:oleObj>
              </mc:Choice>
              <mc:Fallback>
                <p:oleObj name="think-cell Slide" r:id="rId6" imgW="498" imgH="499" progId="TCLayout.ActiveDocument.1">
                  <p:embed/>
                  <p:pic>
                    <p:nvPicPr>
                      <p:cNvPr id="4" name="Object 3"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Health Fund Administration Business Canvas</a:t>
            </a:r>
            <a:endParaRPr lang="en-US" dirty="0">
              <a:latin typeface="Arial" panose="020B0604020202020204" pitchFamily="34" charset="0"/>
              <a:cs typeface="Arial" panose="020B0604020202020204" pitchFamily="34" charset="0"/>
              <a:sym typeface="Arial" panose="020B0604020202020204" pitchFamily="34" charset="0"/>
            </a:endParaRPr>
          </a:p>
        </p:txBody>
      </p:sp>
      <p:sp>
        <p:nvSpPr>
          <p:cNvPr id="3" name="Text Placeholder 2"/>
          <p:cNvSpPr>
            <a:spLocks noGrp="1"/>
          </p:cNvSpPr>
          <p:nvPr>
            <p:ph type="body" sz="quarter" idx="11"/>
          </p:nvPr>
        </p:nvSpPr>
        <p:spPr>
          <a:xfrm>
            <a:off x="457200" y="860151"/>
            <a:ext cx="9688622" cy="423094"/>
          </a:xfrm>
        </p:spPr>
        <p:txBody>
          <a:bodyPr/>
          <a:lstStyle/>
          <a:p>
            <a:r>
              <a:rPr lang="en-US" dirty="0"/>
              <a:t>Holistic view of the current Health Fund Administration business model</a:t>
            </a:r>
            <a:endParaRPr lang="en-US" i="1" dirty="0">
              <a:latin typeface="Arial" panose="020B0604020202020204" pitchFamily="34" charset="0"/>
              <a:cs typeface="Arial" panose="020B0604020202020204" pitchFamily="34" charset="0"/>
              <a:sym typeface="Arial" panose="020B0604020202020204" pitchFamily="34" charset="0"/>
            </a:endParaRPr>
          </a:p>
        </p:txBody>
      </p:sp>
      <p:sp>
        <p:nvSpPr>
          <p:cNvPr id="104" name="Rectangle: Rounded Corners 103">
            <a:extLst>
              <a:ext uri="{FF2B5EF4-FFF2-40B4-BE49-F238E27FC236}">
                <a16:creationId xmlns:a16="http://schemas.microsoft.com/office/drawing/2014/main" id="{FCF39E1F-7239-46F5-A641-FF8829ACE2D0}"/>
              </a:ext>
            </a:extLst>
          </p:cNvPr>
          <p:cNvSpPr/>
          <p:nvPr/>
        </p:nvSpPr>
        <p:spPr>
          <a:xfrm>
            <a:off x="5042194" y="3469466"/>
            <a:ext cx="2111292" cy="240357"/>
          </a:xfrm>
          <a:prstGeom prst="roundRect">
            <a:avLst/>
          </a:prstGeom>
          <a:solidFill>
            <a:schemeClr val="bg1">
              <a:lumMod val="85000"/>
            </a:schemeClr>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latin typeface="Arial" panose="020B0604020202020204" pitchFamily="34" charset="0"/>
                <a:cs typeface="Arial" panose="020B0604020202020204" pitchFamily="34" charset="0"/>
              </a:rPr>
              <a:t>Facilitate Health Fund Payments</a:t>
            </a:r>
          </a:p>
        </p:txBody>
      </p:sp>
      <p:sp>
        <p:nvSpPr>
          <p:cNvPr id="105" name="Rectangle: Rounded Corners 104">
            <a:extLst>
              <a:ext uri="{FF2B5EF4-FFF2-40B4-BE49-F238E27FC236}">
                <a16:creationId xmlns:a16="http://schemas.microsoft.com/office/drawing/2014/main" id="{7CD81CBD-41F4-4670-8770-142328BB248E}"/>
              </a:ext>
            </a:extLst>
          </p:cNvPr>
          <p:cNvSpPr/>
          <p:nvPr/>
        </p:nvSpPr>
        <p:spPr>
          <a:xfrm>
            <a:off x="2776892" y="3694065"/>
            <a:ext cx="959289" cy="220178"/>
          </a:xfrm>
          <a:prstGeom prst="roundRect">
            <a:avLst/>
          </a:prstGeom>
          <a:solidFill>
            <a:schemeClr val="bg1">
              <a:lumMod val="85000"/>
            </a:schemeClr>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latin typeface="Arial" panose="020B0604020202020204" pitchFamily="34" charset="0"/>
                <a:cs typeface="Arial" panose="020B0604020202020204" pitchFamily="34" charset="0"/>
              </a:rPr>
              <a:t>Debit Card</a:t>
            </a:r>
          </a:p>
        </p:txBody>
      </p:sp>
      <p:sp>
        <p:nvSpPr>
          <p:cNvPr id="106" name="Rectangle: Rounded Corners 105">
            <a:extLst>
              <a:ext uri="{FF2B5EF4-FFF2-40B4-BE49-F238E27FC236}">
                <a16:creationId xmlns:a16="http://schemas.microsoft.com/office/drawing/2014/main" id="{A9A012B2-E64E-4764-B327-28EE0812D94B}"/>
              </a:ext>
            </a:extLst>
          </p:cNvPr>
          <p:cNvSpPr/>
          <p:nvPr/>
        </p:nvSpPr>
        <p:spPr>
          <a:xfrm>
            <a:off x="5027492" y="2452007"/>
            <a:ext cx="2154205" cy="335736"/>
          </a:xfrm>
          <a:prstGeom prst="roundRect">
            <a:avLst/>
          </a:prstGeom>
          <a:solidFill>
            <a:schemeClr val="bg1">
              <a:lumMod val="85000"/>
            </a:schemeClr>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latin typeface="Arial" panose="020B0604020202020204" pitchFamily="34" charset="0"/>
                <a:cs typeface="Arial" panose="020B0604020202020204" pitchFamily="34" charset="0"/>
              </a:rPr>
              <a:t>Monitor and report on tax compliance</a:t>
            </a:r>
          </a:p>
        </p:txBody>
      </p:sp>
      <p:sp>
        <p:nvSpPr>
          <p:cNvPr id="107" name="Rectangle: Rounded Corners 106">
            <a:extLst>
              <a:ext uri="{FF2B5EF4-FFF2-40B4-BE49-F238E27FC236}">
                <a16:creationId xmlns:a16="http://schemas.microsoft.com/office/drawing/2014/main" id="{2C8199C2-12F4-4257-875D-E3870BFFCE5B}"/>
              </a:ext>
            </a:extLst>
          </p:cNvPr>
          <p:cNvSpPr/>
          <p:nvPr/>
        </p:nvSpPr>
        <p:spPr>
          <a:xfrm>
            <a:off x="5045203" y="3187142"/>
            <a:ext cx="2111291" cy="227240"/>
          </a:xfrm>
          <a:prstGeom prst="roundRect">
            <a:avLst/>
          </a:prstGeom>
          <a:solidFill>
            <a:schemeClr val="bg1">
              <a:lumMod val="85000"/>
            </a:schemeClr>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latin typeface="Arial" panose="020B0604020202020204" pitchFamily="34" charset="0"/>
                <a:cs typeface="Arial" panose="020B0604020202020204" pitchFamily="34" charset="0"/>
              </a:rPr>
              <a:t>Flexible Contribution Methods</a:t>
            </a:r>
          </a:p>
        </p:txBody>
      </p:sp>
      <p:sp>
        <p:nvSpPr>
          <p:cNvPr id="108" name="Rectangle: Rounded Corners 107">
            <a:extLst>
              <a:ext uri="{FF2B5EF4-FFF2-40B4-BE49-F238E27FC236}">
                <a16:creationId xmlns:a16="http://schemas.microsoft.com/office/drawing/2014/main" id="{9A163A5E-90D1-4DB8-B6D0-12621405D278}"/>
              </a:ext>
            </a:extLst>
          </p:cNvPr>
          <p:cNvSpPr/>
          <p:nvPr/>
        </p:nvSpPr>
        <p:spPr>
          <a:xfrm>
            <a:off x="5024746" y="1990053"/>
            <a:ext cx="2156952" cy="429942"/>
          </a:xfrm>
          <a:prstGeom prst="roundRect">
            <a:avLst/>
          </a:prstGeom>
          <a:solidFill>
            <a:schemeClr val="bg1">
              <a:lumMod val="85000"/>
            </a:schemeClr>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latin typeface="Arial" panose="020B0604020202020204" pitchFamily="34" charset="0"/>
                <a:cs typeface="Arial" panose="020B0604020202020204" pitchFamily="34" charset="0"/>
              </a:rPr>
              <a:t>Tax savings options for Health, Adoption, Commuter, and Tuition expenses</a:t>
            </a:r>
          </a:p>
        </p:txBody>
      </p:sp>
      <p:sp>
        <p:nvSpPr>
          <p:cNvPr id="109" name="Rectangle: Rounded Corners 108">
            <a:extLst>
              <a:ext uri="{FF2B5EF4-FFF2-40B4-BE49-F238E27FC236}">
                <a16:creationId xmlns:a16="http://schemas.microsoft.com/office/drawing/2014/main" id="{04538DB0-93C5-46FA-8669-3CE8D915FD9F}"/>
              </a:ext>
            </a:extLst>
          </p:cNvPr>
          <p:cNvSpPr/>
          <p:nvPr/>
        </p:nvSpPr>
        <p:spPr>
          <a:xfrm>
            <a:off x="5025715" y="2821356"/>
            <a:ext cx="2155983" cy="335736"/>
          </a:xfrm>
          <a:prstGeom prst="roundRect">
            <a:avLst/>
          </a:prstGeom>
          <a:solidFill>
            <a:schemeClr val="bg1">
              <a:lumMod val="85000"/>
            </a:schemeClr>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latin typeface="Arial" panose="020B0604020202020204" pitchFamily="34" charset="0"/>
                <a:cs typeface="Arial" panose="020B0604020202020204" pitchFamily="34" charset="0"/>
              </a:rPr>
              <a:t>Simplified Tax Savings Account Self-Service</a:t>
            </a:r>
          </a:p>
        </p:txBody>
      </p:sp>
      <p:sp>
        <p:nvSpPr>
          <p:cNvPr id="110" name="Rectangle: Rounded Corners 109">
            <a:extLst>
              <a:ext uri="{FF2B5EF4-FFF2-40B4-BE49-F238E27FC236}">
                <a16:creationId xmlns:a16="http://schemas.microsoft.com/office/drawing/2014/main" id="{62713AB1-8154-4B20-B703-0C30A232E835}"/>
              </a:ext>
            </a:extLst>
          </p:cNvPr>
          <p:cNvSpPr/>
          <p:nvPr/>
        </p:nvSpPr>
        <p:spPr>
          <a:xfrm>
            <a:off x="5416074" y="3751089"/>
            <a:ext cx="1413958" cy="179568"/>
          </a:xfrm>
          <a:prstGeom prst="roundRect">
            <a:avLst/>
          </a:prstGeom>
          <a:solidFill>
            <a:schemeClr val="bg1">
              <a:lumMod val="85000"/>
            </a:schemeClr>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latin typeface="Arial" panose="020B0604020202020204" pitchFamily="34" charset="0"/>
                <a:cs typeface="Arial" panose="020B0604020202020204" pitchFamily="34" charset="0"/>
              </a:rPr>
              <a:t>Tax Free Interest</a:t>
            </a:r>
          </a:p>
        </p:txBody>
      </p:sp>
      <p:sp>
        <p:nvSpPr>
          <p:cNvPr id="111" name="Rectangle: Rounded Corners 110">
            <a:extLst>
              <a:ext uri="{FF2B5EF4-FFF2-40B4-BE49-F238E27FC236}">
                <a16:creationId xmlns:a16="http://schemas.microsoft.com/office/drawing/2014/main" id="{369B51FB-4B21-4D55-ADE7-8C187CA50631}"/>
              </a:ext>
            </a:extLst>
          </p:cNvPr>
          <p:cNvSpPr/>
          <p:nvPr/>
        </p:nvSpPr>
        <p:spPr>
          <a:xfrm>
            <a:off x="5416074" y="3989388"/>
            <a:ext cx="1413958" cy="179567"/>
          </a:xfrm>
          <a:prstGeom prst="roundRect">
            <a:avLst/>
          </a:prstGeom>
          <a:solidFill>
            <a:schemeClr val="bg1">
              <a:lumMod val="85000"/>
            </a:schemeClr>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latin typeface="Arial" panose="020B0604020202020204" pitchFamily="34" charset="0"/>
                <a:cs typeface="Arial" panose="020B0604020202020204" pitchFamily="34" charset="0"/>
              </a:rPr>
              <a:t>Tax Free Payments</a:t>
            </a:r>
          </a:p>
        </p:txBody>
      </p:sp>
      <p:sp>
        <p:nvSpPr>
          <p:cNvPr id="112" name="Rectangle: Rounded Corners 111">
            <a:extLst>
              <a:ext uri="{FF2B5EF4-FFF2-40B4-BE49-F238E27FC236}">
                <a16:creationId xmlns:a16="http://schemas.microsoft.com/office/drawing/2014/main" id="{4615972A-8134-419A-ADF2-EEC48BE80CF6}"/>
              </a:ext>
            </a:extLst>
          </p:cNvPr>
          <p:cNvSpPr/>
          <p:nvPr/>
        </p:nvSpPr>
        <p:spPr>
          <a:xfrm>
            <a:off x="2773772" y="3060713"/>
            <a:ext cx="2133430" cy="298126"/>
          </a:xfrm>
          <a:prstGeom prst="roundRect">
            <a:avLst/>
          </a:prstGeom>
          <a:solidFill>
            <a:schemeClr val="bg1">
              <a:lumMod val="85000"/>
            </a:schemeClr>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latin typeface="Arial" panose="020B0604020202020204" pitchFamily="34" charset="0"/>
                <a:cs typeface="Arial" panose="020B0604020202020204" pitchFamily="34" charset="0"/>
              </a:rPr>
              <a:t>Tax-Advantage Education &amp; Guidance</a:t>
            </a:r>
          </a:p>
        </p:txBody>
      </p:sp>
      <p:sp>
        <p:nvSpPr>
          <p:cNvPr id="114" name="Rectangle: Rounded Corners 113">
            <a:extLst>
              <a:ext uri="{FF2B5EF4-FFF2-40B4-BE49-F238E27FC236}">
                <a16:creationId xmlns:a16="http://schemas.microsoft.com/office/drawing/2014/main" id="{02B10CD7-1B43-40D8-B8E8-E068F3E5BA59}"/>
              </a:ext>
            </a:extLst>
          </p:cNvPr>
          <p:cNvSpPr/>
          <p:nvPr/>
        </p:nvSpPr>
        <p:spPr>
          <a:xfrm>
            <a:off x="10090879" y="1986858"/>
            <a:ext cx="893611" cy="217893"/>
          </a:xfrm>
          <a:prstGeom prst="roundRect">
            <a:avLst/>
          </a:prstGeom>
          <a:solidFill>
            <a:schemeClr val="bg1">
              <a:lumMod val="85000"/>
            </a:schemeClr>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latin typeface="Arial" panose="020B0604020202020204" pitchFamily="34" charset="0"/>
                <a:cs typeface="Arial" panose="020B0604020202020204" pitchFamily="34" charset="0"/>
              </a:rPr>
              <a:t>Employers</a:t>
            </a:r>
          </a:p>
        </p:txBody>
      </p:sp>
      <p:sp>
        <p:nvSpPr>
          <p:cNvPr id="121" name="Rectangle: Rounded Corners 120">
            <a:hlinkClick r:id="rId5" action="ppaction://hlinksldjump" tooltip="Direct Billing lets you conveniently pay for eligible insurance premiums directly from the SoEs"/>
            <a:extLst>
              <a:ext uri="{FF2B5EF4-FFF2-40B4-BE49-F238E27FC236}">
                <a16:creationId xmlns:a16="http://schemas.microsoft.com/office/drawing/2014/main" id="{73F81C7D-9828-4B09-8C71-BE086ED74779}"/>
              </a:ext>
            </a:extLst>
          </p:cNvPr>
          <p:cNvSpPr/>
          <p:nvPr/>
        </p:nvSpPr>
        <p:spPr>
          <a:xfrm>
            <a:off x="5650054" y="4217828"/>
            <a:ext cx="945998" cy="161645"/>
          </a:xfrm>
          <a:prstGeom prst="roundRect">
            <a:avLst/>
          </a:prstGeom>
          <a:solidFill>
            <a:schemeClr val="bg1">
              <a:lumMod val="85000"/>
            </a:schemeClr>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latin typeface="Arial" panose="020B0604020202020204" pitchFamily="34" charset="0"/>
                <a:cs typeface="Arial" panose="020B0604020202020204" pitchFamily="34" charset="0"/>
              </a:rPr>
              <a:t>Direct Billing</a:t>
            </a:r>
          </a:p>
        </p:txBody>
      </p:sp>
      <p:sp>
        <p:nvSpPr>
          <p:cNvPr id="124" name="Rectangle: Rounded Corners 123">
            <a:extLst>
              <a:ext uri="{FF2B5EF4-FFF2-40B4-BE49-F238E27FC236}">
                <a16:creationId xmlns:a16="http://schemas.microsoft.com/office/drawing/2014/main" id="{DA8FA1E6-B4AC-41E4-9CFC-E6F46B28F4A7}"/>
              </a:ext>
            </a:extLst>
          </p:cNvPr>
          <p:cNvSpPr/>
          <p:nvPr/>
        </p:nvSpPr>
        <p:spPr>
          <a:xfrm>
            <a:off x="6362953" y="5098106"/>
            <a:ext cx="2164790" cy="245123"/>
          </a:xfrm>
          <a:prstGeom prst="roundRect">
            <a:avLst/>
          </a:prstGeom>
          <a:solidFill>
            <a:schemeClr val="bg1">
              <a:lumMod val="85000"/>
            </a:schemeClr>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latin typeface="Arial" panose="020B0604020202020204" pitchFamily="34" charset="0"/>
                <a:cs typeface="Arial" panose="020B0604020202020204" pitchFamily="34" charset="0"/>
              </a:rPr>
              <a:t>Fund Administration Fees PM/PM</a:t>
            </a:r>
          </a:p>
        </p:txBody>
      </p:sp>
      <p:sp>
        <p:nvSpPr>
          <p:cNvPr id="125" name="Rectangle: Rounded Corners 124">
            <a:extLst>
              <a:ext uri="{FF2B5EF4-FFF2-40B4-BE49-F238E27FC236}">
                <a16:creationId xmlns:a16="http://schemas.microsoft.com/office/drawing/2014/main" id="{72749E1F-E180-4059-8414-FE8C2ECB317F}"/>
              </a:ext>
            </a:extLst>
          </p:cNvPr>
          <p:cNvSpPr/>
          <p:nvPr/>
        </p:nvSpPr>
        <p:spPr>
          <a:xfrm>
            <a:off x="958040" y="5474791"/>
            <a:ext cx="1620064" cy="245123"/>
          </a:xfrm>
          <a:prstGeom prst="roundRect">
            <a:avLst/>
          </a:prstGeom>
          <a:solidFill>
            <a:schemeClr val="bg1">
              <a:lumMod val="85000"/>
            </a:schemeClr>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latin typeface="Arial" panose="020B0604020202020204" pitchFamily="34" charset="0"/>
                <a:cs typeface="Arial" panose="020B0604020202020204" pitchFamily="34" charset="0"/>
              </a:rPr>
              <a:t>IT Systems</a:t>
            </a:r>
          </a:p>
        </p:txBody>
      </p:sp>
      <p:sp>
        <p:nvSpPr>
          <p:cNvPr id="126" name="Rectangle: Rounded Corners 125">
            <a:extLst>
              <a:ext uri="{FF2B5EF4-FFF2-40B4-BE49-F238E27FC236}">
                <a16:creationId xmlns:a16="http://schemas.microsoft.com/office/drawing/2014/main" id="{826FEBB8-A9A0-435F-94F2-FA5F8D87D019}"/>
              </a:ext>
            </a:extLst>
          </p:cNvPr>
          <p:cNvSpPr/>
          <p:nvPr/>
        </p:nvSpPr>
        <p:spPr>
          <a:xfrm>
            <a:off x="954688" y="5082846"/>
            <a:ext cx="1620064" cy="335736"/>
          </a:xfrm>
          <a:prstGeom prst="roundRect">
            <a:avLst/>
          </a:prstGeom>
          <a:solidFill>
            <a:schemeClr val="bg1">
              <a:lumMod val="85000"/>
            </a:schemeClr>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latin typeface="Arial" panose="020B0604020202020204" pitchFamily="34" charset="0"/>
                <a:cs typeface="Arial" panose="020B0604020202020204" pitchFamily="34" charset="0"/>
              </a:rPr>
              <a:t>Financial Accounts Administration</a:t>
            </a:r>
          </a:p>
        </p:txBody>
      </p:sp>
      <p:sp>
        <p:nvSpPr>
          <p:cNvPr id="127" name="Rectangle: Rounded Corners 126">
            <a:extLst>
              <a:ext uri="{FF2B5EF4-FFF2-40B4-BE49-F238E27FC236}">
                <a16:creationId xmlns:a16="http://schemas.microsoft.com/office/drawing/2014/main" id="{5FCD1605-9325-4A18-B361-78B354243DF4}"/>
              </a:ext>
            </a:extLst>
          </p:cNvPr>
          <p:cNvSpPr/>
          <p:nvPr/>
        </p:nvSpPr>
        <p:spPr>
          <a:xfrm>
            <a:off x="2841705" y="5098106"/>
            <a:ext cx="1620064" cy="245123"/>
          </a:xfrm>
          <a:prstGeom prst="roundRect">
            <a:avLst/>
          </a:prstGeom>
          <a:solidFill>
            <a:schemeClr val="bg1">
              <a:lumMod val="85000"/>
            </a:schemeClr>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latin typeface="Arial" panose="020B0604020202020204" pitchFamily="34" charset="0"/>
                <a:cs typeface="Arial" panose="020B0604020202020204" pitchFamily="34" charset="0"/>
              </a:rPr>
              <a:t>Customer Education</a:t>
            </a:r>
          </a:p>
        </p:txBody>
      </p:sp>
      <p:sp>
        <p:nvSpPr>
          <p:cNvPr id="129" name="Rectangle: Rounded Corners 128">
            <a:extLst>
              <a:ext uri="{FF2B5EF4-FFF2-40B4-BE49-F238E27FC236}">
                <a16:creationId xmlns:a16="http://schemas.microsoft.com/office/drawing/2014/main" id="{7DD346B2-41F7-4F38-A2BC-418AA702B96E}"/>
              </a:ext>
            </a:extLst>
          </p:cNvPr>
          <p:cNvSpPr/>
          <p:nvPr/>
        </p:nvSpPr>
        <p:spPr>
          <a:xfrm>
            <a:off x="636873" y="2657748"/>
            <a:ext cx="1978545" cy="224981"/>
          </a:xfrm>
          <a:prstGeom prst="roundRect">
            <a:avLst/>
          </a:prstGeom>
          <a:solidFill>
            <a:schemeClr val="bg1">
              <a:lumMod val="85000"/>
            </a:schemeClr>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latin typeface="Arial" panose="020B0604020202020204" pitchFamily="34" charset="0"/>
                <a:cs typeface="Arial" panose="020B0604020202020204" pitchFamily="34" charset="0"/>
              </a:rPr>
              <a:t>State/Federal Tax Agencies</a:t>
            </a:r>
          </a:p>
        </p:txBody>
      </p:sp>
      <p:sp>
        <p:nvSpPr>
          <p:cNvPr id="130" name="Rectangle: Rounded Corners 129">
            <a:extLst>
              <a:ext uri="{FF2B5EF4-FFF2-40B4-BE49-F238E27FC236}">
                <a16:creationId xmlns:a16="http://schemas.microsoft.com/office/drawing/2014/main" id="{BB30F1F5-AD40-4AD7-B410-839BF8CBCCF6}"/>
              </a:ext>
            </a:extLst>
          </p:cNvPr>
          <p:cNvSpPr/>
          <p:nvPr/>
        </p:nvSpPr>
        <p:spPr>
          <a:xfrm>
            <a:off x="7450340" y="3420545"/>
            <a:ext cx="1760082" cy="335736"/>
          </a:xfrm>
          <a:prstGeom prst="roundRect">
            <a:avLst/>
          </a:prstGeom>
          <a:solidFill>
            <a:schemeClr val="bg1">
              <a:lumMod val="85000"/>
            </a:schemeClr>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latin typeface="Arial" panose="020B0604020202020204" pitchFamily="34" charset="0"/>
                <a:cs typeface="Arial" panose="020B0604020202020204" pitchFamily="34" charset="0"/>
              </a:rPr>
              <a:t>Systems of Engagement (Web/Mobile)</a:t>
            </a:r>
          </a:p>
        </p:txBody>
      </p:sp>
      <p:sp>
        <p:nvSpPr>
          <p:cNvPr id="131" name="Rectangle: Rounded Corners 130">
            <a:extLst>
              <a:ext uri="{FF2B5EF4-FFF2-40B4-BE49-F238E27FC236}">
                <a16:creationId xmlns:a16="http://schemas.microsoft.com/office/drawing/2014/main" id="{5A3C8033-CF17-4019-9436-6491EFB2420E}"/>
              </a:ext>
            </a:extLst>
          </p:cNvPr>
          <p:cNvSpPr/>
          <p:nvPr/>
        </p:nvSpPr>
        <p:spPr>
          <a:xfrm>
            <a:off x="7450339" y="4395032"/>
            <a:ext cx="725641" cy="240405"/>
          </a:xfrm>
          <a:prstGeom prst="roundRect">
            <a:avLst/>
          </a:prstGeom>
          <a:solidFill>
            <a:schemeClr val="bg1">
              <a:lumMod val="85000"/>
            </a:schemeClr>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latin typeface="Arial" panose="020B0604020202020204" pitchFamily="34" charset="0"/>
                <a:cs typeface="Arial" panose="020B0604020202020204" pitchFamily="34" charset="0"/>
              </a:rPr>
              <a:t>Phone</a:t>
            </a:r>
          </a:p>
        </p:txBody>
      </p:sp>
      <p:sp>
        <p:nvSpPr>
          <p:cNvPr id="132" name="Rectangle: Rounded Corners 131">
            <a:extLst>
              <a:ext uri="{FF2B5EF4-FFF2-40B4-BE49-F238E27FC236}">
                <a16:creationId xmlns:a16="http://schemas.microsoft.com/office/drawing/2014/main" id="{CF15E38D-3CA0-4CF7-BFF5-A630A127FFBF}"/>
              </a:ext>
            </a:extLst>
          </p:cNvPr>
          <p:cNvSpPr/>
          <p:nvPr/>
        </p:nvSpPr>
        <p:spPr>
          <a:xfrm>
            <a:off x="7450340" y="4107609"/>
            <a:ext cx="725641" cy="240405"/>
          </a:xfrm>
          <a:prstGeom prst="roundRect">
            <a:avLst/>
          </a:prstGeom>
          <a:solidFill>
            <a:schemeClr val="bg1">
              <a:lumMod val="85000"/>
            </a:schemeClr>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latin typeface="Arial" panose="020B0604020202020204" pitchFamily="34" charset="0"/>
                <a:cs typeface="Arial" panose="020B0604020202020204" pitchFamily="34" charset="0"/>
              </a:rPr>
              <a:t>Mail</a:t>
            </a:r>
          </a:p>
        </p:txBody>
      </p:sp>
      <p:sp>
        <p:nvSpPr>
          <p:cNvPr id="133" name="Rectangle: Rounded Corners 132">
            <a:extLst>
              <a:ext uri="{FF2B5EF4-FFF2-40B4-BE49-F238E27FC236}">
                <a16:creationId xmlns:a16="http://schemas.microsoft.com/office/drawing/2014/main" id="{524F970D-A1F5-4890-AF29-46F4760B1CE5}"/>
              </a:ext>
            </a:extLst>
          </p:cNvPr>
          <p:cNvSpPr/>
          <p:nvPr/>
        </p:nvSpPr>
        <p:spPr>
          <a:xfrm>
            <a:off x="7450341" y="3820438"/>
            <a:ext cx="725641" cy="240405"/>
          </a:xfrm>
          <a:prstGeom prst="roundRect">
            <a:avLst/>
          </a:prstGeom>
          <a:solidFill>
            <a:schemeClr val="bg1">
              <a:lumMod val="85000"/>
            </a:schemeClr>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latin typeface="Arial" panose="020B0604020202020204" pitchFamily="34" charset="0"/>
                <a:cs typeface="Arial" panose="020B0604020202020204" pitchFamily="34" charset="0"/>
              </a:rPr>
              <a:t>Fax</a:t>
            </a:r>
          </a:p>
        </p:txBody>
      </p:sp>
      <p:sp>
        <p:nvSpPr>
          <p:cNvPr id="134" name="Rectangle: Rounded Corners 133">
            <a:extLst>
              <a:ext uri="{FF2B5EF4-FFF2-40B4-BE49-F238E27FC236}">
                <a16:creationId xmlns:a16="http://schemas.microsoft.com/office/drawing/2014/main" id="{1C09D6D1-296A-4584-84F6-3B67B2A75F30}"/>
              </a:ext>
            </a:extLst>
          </p:cNvPr>
          <p:cNvSpPr/>
          <p:nvPr/>
        </p:nvSpPr>
        <p:spPr>
          <a:xfrm>
            <a:off x="8245469" y="3824428"/>
            <a:ext cx="964953" cy="236415"/>
          </a:xfrm>
          <a:prstGeom prst="roundRect">
            <a:avLst/>
          </a:prstGeom>
          <a:solidFill>
            <a:schemeClr val="bg1">
              <a:lumMod val="85000"/>
            </a:schemeClr>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latin typeface="Arial" panose="020B0604020202020204" pitchFamily="34" charset="0"/>
                <a:cs typeface="Arial" panose="020B0604020202020204" pitchFamily="34" charset="0"/>
              </a:rPr>
              <a:t>Social Media</a:t>
            </a:r>
          </a:p>
        </p:txBody>
      </p:sp>
      <p:sp>
        <p:nvSpPr>
          <p:cNvPr id="135" name="Rectangle: Rounded Corners 134">
            <a:hlinkClick r:id="rId5" action="ppaction://hlinksldjump" tooltip="Through which channels do our customer segments want to be reached for: Awareness, Evaluation, Purchase, Delivery, Support"/>
            <a:extLst>
              <a:ext uri="{FF2B5EF4-FFF2-40B4-BE49-F238E27FC236}">
                <a16:creationId xmlns:a16="http://schemas.microsoft.com/office/drawing/2014/main" id="{4353FF36-15AB-423C-9456-C003A5252F05}"/>
              </a:ext>
            </a:extLst>
          </p:cNvPr>
          <p:cNvSpPr/>
          <p:nvPr/>
        </p:nvSpPr>
        <p:spPr>
          <a:xfrm>
            <a:off x="7904475" y="3212447"/>
            <a:ext cx="851899" cy="201733"/>
          </a:xfrm>
          <a:prstGeom prst="round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latin typeface="+mj-lt"/>
              <a:cs typeface="Open Sans Bold"/>
            </a:endParaRPr>
          </a:p>
        </p:txBody>
      </p:sp>
      <p:sp>
        <p:nvSpPr>
          <p:cNvPr id="136" name="Rectangle: Rounded Corners 135">
            <a:extLst>
              <a:ext uri="{FF2B5EF4-FFF2-40B4-BE49-F238E27FC236}">
                <a16:creationId xmlns:a16="http://schemas.microsoft.com/office/drawing/2014/main" id="{468D5935-9B4A-49D3-8A5F-1D0D35BAA8D4}"/>
              </a:ext>
            </a:extLst>
          </p:cNvPr>
          <p:cNvSpPr/>
          <p:nvPr/>
        </p:nvSpPr>
        <p:spPr>
          <a:xfrm>
            <a:off x="8338914" y="1981277"/>
            <a:ext cx="893610" cy="244541"/>
          </a:xfrm>
          <a:prstGeom prst="roundRect">
            <a:avLst/>
          </a:prstGeom>
          <a:solidFill>
            <a:schemeClr val="bg1">
              <a:lumMod val="85000"/>
            </a:schemeClr>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latin typeface="Arial" panose="020B0604020202020204" pitchFamily="34" charset="0"/>
                <a:cs typeface="Arial" panose="020B0604020202020204" pitchFamily="34" charset="0"/>
              </a:rPr>
              <a:t>Dependents</a:t>
            </a:r>
          </a:p>
        </p:txBody>
      </p:sp>
      <p:sp>
        <p:nvSpPr>
          <p:cNvPr id="137" name="Rectangle: Rounded Corners 136">
            <a:extLst>
              <a:ext uri="{FF2B5EF4-FFF2-40B4-BE49-F238E27FC236}">
                <a16:creationId xmlns:a16="http://schemas.microsoft.com/office/drawing/2014/main" id="{ECD152A8-3766-4EB5-A155-8BABA665C80A}"/>
              </a:ext>
            </a:extLst>
          </p:cNvPr>
          <p:cNvSpPr/>
          <p:nvPr/>
        </p:nvSpPr>
        <p:spPr>
          <a:xfrm>
            <a:off x="7350416" y="1993218"/>
            <a:ext cx="893611" cy="217893"/>
          </a:xfrm>
          <a:prstGeom prst="roundRect">
            <a:avLst/>
          </a:prstGeom>
          <a:solidFill>
            <a:schemeClr val="bg1">
              <a:lumMod val="85000"/>
            </a:schemeClr>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latin typeface="Arial" panose="020B0604020202020204" pitchFamily="34" charset="0"/>
                <a:cs typeface="Arial" panose="020B0604020202020204" pitchFamily="34" charset="0"/>
              </a:rPr>
              <a:t>Employees</a:t>
            </a:r>
          </a:p>
        </p:txBody>
      </p:sp>
      <p:sp>
        <p:nvSpPr>
          <p:cNvPr id="138" name="Rectangle: Rounded Corners 137">
            <a:extLst>
              <a:ext uri="{FF2B5EF4-FFF2-40B4-BE49-F238E27FC236}">
                <a16:creationId xmlns:a16="http://schemas.microsoft.com/office/drawing/2014/main" id="{698FCCD2-1942-47AC-A22E-5ADFACC74B75}"/>
              </a:ext>
            </a:extLst>
          </p:cNvPr>
          <p:cNvSpPr/>
          <p:nvPr/>
        </p:nvSpPr>
        <p:spPr>
          <a:xfrm>
            <a:off x="3788409" y="3694219"/>
            <a:ext cx="1111292" cy="214378"/>
          </a:xfrm>
          <a:prstGeom prst="roundRect">
            <a:avLst/>
          </a:prstGeom>
          <a:solidFill>
            <a:schemeClr val="bg1">
              <a:lumMod val="85000"/>
            </a:schemeClr>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latin typeface="Arial" panose="020B0604020202020204" pitchFamily="34" charset="0"/>
                <a:cs typeface="Arial" panose="020B0604020202020204" pitchFamily="34" charset="0"/>
              </a:rPr>
              <a:t>Customer Care</a:t>
            </a:r>
          </a:p>
        </p:txBody>
      </p:sp>
      <p:sp>
        <p:nvSpPr>
          <p:cNvPr id="139" name="Rectangle: Rounded Corners 138">
            <a:extLst>
              <a:ext uri="{FF2B5EF4-FFF2-40B4-BE49-F238E27FC236}">
                <a16:creationId xmlns:a16="http://schemas.microsoft.com/office/drawing/2014/main" id="{165F1ED6-BC9A-47E6-9BA4-D96EC48C5FC9}"/>
              </a:ext>
            </a:extLst>
          </p:cNvPr>
          <p:cNvSpPr/>
          <p:nvPr/>
        </p:nvSpPr>
        <p:spPr>
          <a:xfrm>
            <a:off x="3763003" y="4227273"/>
            <a:ext cx="1146357" cy="214313"/>
          </a:xfrm>
          <a:prstGeom prst="roundRect">
            <a:avLst/>
          </a:prstGeom>
          <a:solidFill>
            <a:schemeClr val="bg1">
              <a:lumMod val="85000"/>
            </a:schemeClr>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latin typeface="Arial" panose="020B0604020202020204" pitchFamily="34" charset="0"/>
                <a:cs typeface="Arial" panose="020B0604020202020204" pitchFamily="34" charset="0"/>
              </a:rPr>
              <a:t>Data &amp; Insights</a:t>
            </a:r>
          </a:p>
        </p:txBody>
      </p:sp>
      <p:sp>
        <p:nvSpPr>
          <p:cNvPr id="140" name="Rectangle: Rounded Corners 139">
            <a:extLst>
              <a:ext uri="{FF2B5EF4-FFF2-40B4-BE49-F238E27FC236}">
                <a16:creationId xmlns:a16="http://schemas.microsoft.com/office/drawing/2014/main" id="{FBBA63CC-89FA-4A5B-8A25-5CE30996D6CD}"/>
              </a:ext>
            </a:extLst>
          </p:cNvPr>
          <p:cNvSpPr/>
          <p:nvPr/>
        </p:nvSpPr>
        <p:spPr>
          <a:xfrm>
            <a:off x="2773772" y="3977914"/>
            <a:ext cx="959289" cy="214313"/>
          </a:xfrm>
          <a:prstGeom prst="roundRect">
            <a:avLst/>
          </a:prstGeom>
          <a:solidFill>
            <a:schemeClr val="bg1">
              <a:lumMod val="85000"/>
            </a:schemeClr>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latin typeface="Arial" panose="020B0604020202020204" pitchFamily="34" charset="0"/>
                <a:cs typeface="Arial" panose="020B0604020202020204" pitchFamily="34" charset="0"/>
              </a:rPr>
              <a:t>IT Platforms</a:t>
            </a:r>
          </a:p>
        </p:txBody>
      </p:sp>
      <p:sp>
        <p:nvSpPr>
          <p:cNvPr id="141" name="Rectangle: Rounded Corners 140">
            <a:extLst>
              <a:ext uri="{FF2B5EF4-FFF2-40B4-BE49-F238E27FC236}">
                <a16:creationId xmlns:a16="http://schemas.microsoft.com/office/drawing/2014/main" id="{E355D987-8042-464C-AE0E-27EF23ADBD05}"/>
              </a:ext>
            </a:extLst>
          </p:cNvPr>
          <p:cNvSpPr/>
          <p:nvPr/>
        </p:nvSpPr>
        <p:spPr>
          <a:xfrm>
            <a:off x="3762033" y="3969123"/>
            <a:ext cx="1146357" cy="211305"/>
          </a:xfrm>
          <a:prstGeom prst="roundRect">
            <a:avLst/>
          </a:prstGeom>
          <a:solidFill>
            <a:schemeClr val="bg1">
              <a:lumMod val="85000"/>
            </a:schemeClr>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latin typeface="Arial" panose="020B0604020202020204" pitchFamily="34" charset="0"/>
                <a:cs typeface="Arial" panose="020B0604020202020204" pitchFamily="34" charset="0"/>
              </a:rPr>
              <a:t>Digital Platforms</a:t>
            </a:r>
          </a:p>
        </p:txBody>
      </p:sp>
      <p:sp>
        <p:nvSpPr>
          <p:cNvPr id="75" name="Rectangle: Rounded Corners 74">
            <a:extLst>
              <a:ext uri="{FF2B5EF4-FFF2-40B4-BE49-F238E27FC236}">
                <a16:creationId xmlns:a16="http://schemas.microsoft.com/office/drawing/2014/main" id="{B1575125-F205-417C-8C61-8DA1D781D51A}"/>
              </a:ext>
            </a:extLst>
          </p:cNvPr>
          <p:cNvSpPr/>
          <p:nvPr/>
        </p:nvSpPr>
        <p:spPr>
          <a:xfrm>
            <a:off x="1231137" y="2042360"/>
            <a:ext cx="893611" cy="217893"/>
          </a:xfrm>
          <a:prstGeom prst="roundRect">
            <a:avLst/>
          </a:prstGeom>
          <a:solidFill>
            <a:schemeClr val="bg1">
              <a:lumMod val="85000"/>
            </a:schemeClr>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latin typeface="Arial" panose="020B0604020202020204" pitchFamily="34" charset="0"/>
                <a:cs typeface="Arial" panose="020B0604020202020204" pitchFamily="34" charset="0"/>
              </a:rPr>
              <a:t>Employers</a:t>
            </a:r>
          </a:p>
        </p:txBody>
      </p:sp>
      <p:sp>
        <p:nvSpPr>
          <p:cNvPr id="77" name="Rectangle: Rounded Corners 76">
            <a:extLst>
              <a:ext uri="{FF2B5EF4-FFF2-40B4-BE49-F238E27FC236}">
                <a16:creationId xmlns:a16="http://schemas.microsoft.com/office/drawing/2014/main" id="{F883FAD3-B2EA-42FF-9FB5-94BBF278E868}"/>
              </a:ext>
            </a:extLst>
          </p:cNvPr>
          <p:cNvSpPr/>
          <p:nvPr/>
        </p:nvSpPr>
        <p:spPr>
          <a:xfrm>
            <a:off x="6362953" y="5432171"/>
            <a:ext cx="2164790" cy="245123"/>
          </a:xfrm>
          <a:prstGeom prst="roundRect">
            <a:avLst/>
          </a:prstGeom>
          <a:solidFill>
            <a:schemeClr val="bg1">
              <a:lumMod val="85000"/>
            </a:schemeClr>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latin typeface="Arial" panose="020B0604020202020204" pitchFamily="34" charset="0"/>
                <a:cs typeface="Arial" panose="020B0604020202020204" pitchFamily="34" charset="0"/>
              </a:rPr>
              <a:t>Long-term Investments</a:t>
            </a:r>
          </a:p>
        </p:txBody>
      </p:sp>
      <p:sp>
        <p:nvSpPr>
          <p:cNvPr id="78" name="Rectangle: Rounded Corners 77">
            <a:extLst>
              <a:ext uri="{FF2B5EF4-FFF2-40B4-BE49-F238E27FC236}">
                <a16:creationId xmlns:a16="http://schemas.microsoft.com/office/drawing/2014/main" id="{4E6F8CAE-1DF1-4D8D-AFAE-1B1575ED0B82}"/>
              </a:ext>
            </a:extLst>
          </p:cNvPr>
          <p:cNvSpPr/>
          <p:nvPr/>
        </p:nvSpPr>
        <p:spPr>
          <a:xfrm>
            <a:off x="2833697" y="5413546"/>
            <a:ext cx="1620064" cy="245123"/>
          </a:xfrm>
          <a:prstGeom prst="roundRect">
            <a:avLst/>
          </a:prstGeom>
          <a:solidFill>
            <a:schemeClr val="bg1">
              <a:lumMod val="85000"/>
            </a:schemeClr>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latin typeface="Arial" panose="020B0604020202020204" pitchFamily="34" charset="0"/>
                <a:cs typeface="Arial" panose="020B0604020202020204" pitchFamily="34" charset="0"/>
              </a:rPr>
              <a:t>Sales &amp; Marketing</a:t>
            </a:r>
          </a:p>
        </p:txBody>
      </p:sp>
      <p:sp>
        <p:nvSpPr>
          <p:cNvPr id="79" name="Rectangle: Rounded Corners 78">
            <a:hlinkClick r:id="rId5" action="ppaction://hlinksldjump" tooltip="Companies such as for investment account management as well as for debit card processing such as Visa or MasterCard "/>
            <a:extLst>
              <a:ext uri="{FF2B5EF4-FFF2-40B4-BE49-F238E27FC236}">
                <a16:creationId xmlns:a16="http://schemas.microsoft.com/office/drawing/2014/main" id="{CA85504B-63B5-4350-B80A-0369B28FE995}"/>
              </a:ext>
            </a:extLst>
          </p:cNvPr>
          <p:cNvSpPr/>
          <p:nvPr/>
        </p:nvSpPr>
        <p:spPr>
          <a:xfrm>
            <a:off x="636874" y="2356717"/>
            <a:ext cx="1978545" cy="223239"/>
          </a:xfrm>
          <a:prstGeom prst="roundRect">
            <a:avLst/>
          </a:prstGeom>
          <a:solidFill>
            <a:schemeClr val="bg1">
              <a:lumMod val="85000"/>
            </a:schemeClr>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latin typeface="Arial" panose="020B0604020202020204" pitchFamily="34" charset="0"/>
                <a:cs typeface="Arial" panose="020B0604020202020204" pitchFamily="34" charset="0"/>
              </a:rPr>
              <a:t>Financial Services Company</a:t>
            </a:r>
          </a:p>
        </p:txBody>
      </p:sp>
      <p:sp>
        <p:nvSpPr>
          <p:cNvPr id="80" name="Rectangle: Rounded Corners 79">
            <a:hlinkClick r:id="rId5" action="ppaction://hlinksldjump" tooltip="Compliance for PCI, SOX and other regulatory requirements"/>
            <a:extLst>
              <a:ext uri="{FF2B5EF4-FFF2-40B4-BE49-F238E27FC236}">
                <a16:creationId xmlns:a16="http://schemas.microsoft.com/office/drawing/2014/main" id="{1086D1A5-193C-4583-A023-6D522439851C}"/>
              </a:ext>
            </a:extLst>
          </p:cNvPr>
          <p:cNvSpPr/>
          <p:nvPr/>
        </p:nvSpPr>
        <p:spPr>
          <a:xfrm>
            <a:off x="3036258" y="2786487"/>
            <a:ext cx="1620064" cy="245123"/>
          </a:xfrm>
          <a:prstGeom prst="roundRect">
            <a:avLst/>
          </a:prstGeom>
          <a:solidFill>
            <a:schemeClr val="bg1">
              <a:lumMod val="85000"/>
            </a:schemeClr>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latin typeface="Arial" panose="020B0604020202020204" pitchFamily="34" charset="0"/>
                <a:cs typeface="Arial" panose="020B0604020202020204" pitchFamily="34" charset="0"/>
              </a:rPr>
              <a:t>Regulatory Compliance</a:t>
            </a:r>
          </a:p>
        </p:txBody>
      </p:sp>
      <p:sp>
        <p:nvSpPr>
          <p:cNvPr id="81" name="Rectangle: Rounded Corners 80">
            <a:extLst>
              <a:ext uri="{FF2B5EF4-FFF2-40B4-BE49-F238E27FC236}">
                <a16:creationId xmlns:a16="http://schemas.microsoft.com/office/drawing/2014/main" id="{1014D5D6-29D2-458D-B867-2452592B4307}"/>
              </a:ext>
            </a:extLst>
          </p:cNvPr>
          <p:cNvSpPr/>
          <p:nvPr/>
        </p:nvSpPr>
        <p:spPr>
          <a:xfrm>
            <a:off x="3029467" y="2236422"/>
            <a:ext cx="1620064" cy="245123"/>
          </a:xfrm>
          <a:prstGeom prst="roundRect">
            <a:avLst/>
          </a:prstGeom>
          <a:solidFill>
            <a:schemeClr val="bg1">
              <a:lumMod val="85000"/>
            </a:schemeClr>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latin typeface="Arial" panose="020B0604020202020204" pitchFamily="34" charset="0"/>
                <a:cs typeface="Arial" panose="020B0604020202020204" pitchFamily="34" charset="0"/>
              </a:rPr>
              <a:t>Debit Card Processing</a:t>
            </a:r>
          </a:p>
        </p:txBody>
      </p:sp>
      <p:sp>
        <p:nvSpPr>
          <p:cNvPr id="82" name="Rectangle: Rounded Corners 81">
            <a:hlinkClick r:id="rId5" action="ppaction://hlinksldjump" tooltip="Finances investment and management"/>
            <a:extLst>
              <a:ext uri="{FF2B5EF4-FFF2-40B4-BE49-F238E27FC236}">
                <a16:creationId xmlns:a16="http://schemas.microsoft.com/office/drawing/2014/main" id="{B87B6B48-3647-425D-BC0D-1A6F24CBF734}"/>
              </a:ext>
            </a:extLst>
          </p:cNvPr>
          <p:cNvSpPr/>
          <p:nvPr/>
        </p:nvSpPr>
        <p:spPr>
          <a:xfrm>
            <a:off x="3024928" y="1867916"/>
            <a:ext cx="1620064" cy="331037"/>
          </a:xfrm>
          <a:prstGeom prst="roundRect">
            <a:avLst/>
          </a:prstGeom>
          <a:solidFill>
            <a:schemeClr val="bg1">
              <a:lumMod val="85000"/>
            </a:schemeClr>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latin typeface="Arial" panose="020B0604020202020204" pitchFamily="34" charset="0"/>
                <a:cs typeface="Arial" panose="020B0604020202020204" pitchFamily="34" charset="0"/>
              </a:rPr>
              <a:t>Financial Account Management</a:t>
            </a:r>
          </a:p>
        </p:txBody>
      </p:sp>
      <p:sp>
        <p:nvSpPr>
          <p:cNvPr id="83" name="Rectangle: Rounded Corners 82">
            <a:extLst>
              <a:ext uri="{FF2B5EF4-FFF2-40B4-BE49-F238E27FC236}">
                <a16:creationId xmlns:a16="http://schemas.microsoft.com/office/drawing/2014/main" id="{0547CF3E-DD0D-4F32-A11D-CE6742332B91}"/>
              </a:ext>
            </a:extLst>
          </p:cNvPr>
          <p:cNvSpPr/>
          <p:nvPr/>
        </p:nvSpPr>
        <p:spPr>
          <a:xfrm>
            <a:off x="3034152" y="2503291"/>
            <a:ext cx="1620064" cy="245123"/>
          </a:xfrm>
          <a:prstGeom prst="roundRect">
            <a:avLst/>
          </a:prstGeom>
          <a:solidFill>
            <a:schemeClr val="bg1">
              <a:lumMod val="85000"/>
            </a:schemeClr>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latin typeface="Arial" panose="020B0604020202020204" pitchFamily="34" charset="0"/>
                <a:cs typeface="Arial" panose="020B0604020202020204" pitchFamily="34" charset="0"/>
              </a:rPr>
              <a:t>Member Management</a:t>
            </a:r>
          </a:p>
        </p:txBody>
      </p:sp>
    </p:spTree>
    <p:extLst>
      <p:ext uri="{BB962C8B-B14F-4D97-AF65-F5344CB8AC3E}">
        <p14:creationId xmlns:p14="http://schemas.microsoft.com/office/powerpoint/2010/main" val="3105973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Rounded Corners 2">
            <a:hlinkClick r:id="rId2" action="ppaction://hlinksldjump" tooltip="A Flexible Spending Account (FSA) lets you pay for eligible expenses with tax-free money. You contribute to an FSA with pretax money from your paycheck. This, in turn, may help lower your taxable income. Three types: health care, dependent, Limited Purpose"/>
            <a:extLst>
              <a:ext uri="{FF2B5EF4-FFF2-40B4-BE49-F238E27FC236}">
                <a16:creationId xmlns:a16="http://schemas.microsoft.com/office/drawing/2014/main" id="{36DA0F45-3EF2-4728-BF4A-1A12A96F7475}"/>
              </a:ext>
            </a:extLst>
          </p:cNvPr>
          <p:cNvSpPr/>
          <p:nvPr/>
        </p:nvSpPr>
        <p:spPr>
          <a:xfrm>
            <a:off x="1734988" y="2211341"/>
            <a:ext cx="2200991" cy="182350"/>
          </a:xfrm>
          <a:prstGeom prst="roundRect">
            <a:avLst/>
          </a:prstGeom>
          <a:solidFill>
            <a:schemeClr val="bg1">
              <a:lumMod val="85000"/>
            </a:schemeClr>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latin typeface="Arial" panose="020B0604020202020204" pitchFamily="34" charset="0"/>
                <a:cs typeface="Arial" panose="020B0604020202020204" pitchFamily="34" charset="0"/>
              </a:rPr>
              <a:t>Flexible Spending Accounts (FSAs)</a:t>
            </a:r>
          </a:p>
        </p:txBody>
      </p:sp>
      <p:sp>
        <p:nvSpPr>
          <p:cNvPr id="4" name="Rectangle: Rounded Corners 3">
            <a:hlinkClick r:id="rId2" action="ppaction://hlinksldjump" tooltip="A Health Savings Account (HSA) is a tax-advantaged health care account that you own. You contribute to it with tax-free or tax-deductible funds. You can use those funds to pay for eligible health care expenses now and in the future. "/>
            <a:extLst>
              <a:ext uri="{FF2B5EF4-FFF2-40B4-BE49-F238E27FC236}">
                <a16:creationId xmlns:a16="http://schemas.microsoft.com/office/drawing/2014/main" id="{D867EFA8-8BEA-4AB9-B84C-643F40EE676D}"/>
              </a:ext>
            </a:extLst>
          </p:cNvPr>
          <p:cNvSpPr/>
          <p:nvPr/>
        </p:nvSpPr>
        <p:spPr>
          <a:xfrm>
            <a:off x="1734988" y="2428055"/>
            <a:ext cx="2200991" cy="182350"/>
          </a:xfrm>
          <a:prstGeom prst="roundRect">
            <a:avLst/>
          </a:prstGeom>
          <a:solidFill>
            <a:schemeClr val="bg1">
              <a:lumMod val="85000"/>
            </a:schemeClr>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latin typeface="Arial" panose="020B0604020202020204" pitchFamily="34" charset="0"/>
                <a:cs typeface="Arial" panose="020B0604020202020204" pitchFamily="34" charset="0"/>
              </a:rPr>
              <a:t>Health Savings Accounts (HSAs)</a:t>
            </a:r>
          </a:p>
        </p:txBody>
      </p:sp>
      <p:sp>
        <p:nvSpPr>
          <p:cNvPr id="6" name="Rectangle: Rounded Corners 5">
            <a:hlinkClick r:id="rId2" action="ppaction://hlinksldjump" tooltip="An HRA is a health care account that only your employer can fund. You can use these funds to pay for eligible health care expenses. Your employer determines what’s eligible."/>
            <a:extLst>
              <a:ext uri="{FF2B5EF4-FFF2-40B4-BE49-F238E27FC236}">
                <a16:creationId xmlns:a16="http://schemas.microsoft.com/office/drawing/2014/main" id="{8367787C-C906-4D49-896E-985E9BB88938}"/>
              </a:ext>
            </a:extLst>
          </p:cNvPr>
          <p:cNvSpPr/>
          <p:nvPr/>
        </p:nvSpPr>
        <p:spPr>
          <a:xfrm>
            <a:off x="1734988" y="2633803"/>
            <a:ext cx="2200991" cy="315382"/>
          </a:xfrm>
          <a:prstGeom prst="roundRect">
            <a:avLst/>
          </a:prstGeom>
          <a:solidFill>
            <a:schemeClr val="bg1">
              <a:lumMod val="85000"/>
            </a:schemeClr>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latin typeface="Arial" panose="020B0604020202020204" pitchFamily="34" charset="0"/>
                <a:cs typeface="Arial" panose="020B0604020202020204" pitchFamily="34" charset="0"/>
              </a:rPr>
              <a:t>Health Reimbursement Arrangements (HRAs)</a:t>
            </a:r>
          </a:p>
        </p:txBody>
      </p:sp>
      <p:sp>
        <p:nvSpPr>
          <p:cNvPr id="7" name="Rectangle: Rounded Corners 6">
            <a:hlinkClick r:id="rId2" action="ppaction://hlinksldjump" tooltip="Provides you with an online ordering system for transportation and parking passes. With this program, you can pay for your eligible parking and transit costs with pretax dollars up to the monthly IRS limit"/>
            <a:extLst>
              <a:ext uri="{FF2B5EF4-FFF2-40B4-BE49-F238E27FC236}">
                <a16:creationId xmlns:a16="http://schemas.microsoft.com/office/drawing/2014/main" id="{684F094B-94D9-4386-B837-73732ED520CC}"/>
              </a:ext>
            </a:extLst>
          </p:cNvPr>
          <p:cNvSpPr/>
          <p:nvPr/>
        </p:nvSpPr>
        <p:spPr>
          <a:xfrm>
            <a:off x="2224009" y="3252733"/>
            <a:ext cx="1314921" cy="187447"/>
          </a:xfrm>
          <a:prstGeom prst="roundRect">
            <a:avLst/>
          </a:prstGeom>
          <a:solidFill>
            <a:schemeClr val="bg1">
              <a:lumMod val="85000"/>
            </a:schemeClr>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latin typeface="Arial" panose="020B0604020202020204" pitchFamily="34" charset="0"/>
                <a:cs typeface="Arial" panose="020B0604020202020204" pitchFamily="34" charset="0"/>
              </a:rPr>
              <a:t>Commuter Benefits</a:t>
            </a:r>
          </a:p>
        </p:txBody>
      </p:sp>
      <p:sp>
        <p:nvSpPr>
          <p:cNvPr id="8" name="Rectangle: Rounded Corners 7">
            <a:extLst>
              <a:ext uri="{FF2B5EF4-FFF2-40B4-BE49-F238E27FC236}">
                <a16:creationId xmlns:a16="http://schemas.microsoft.com/office/drawing/2014/main" id="{4538DCF0-83ED-45DE-8507-5CD6722676F5}"/>
              </a:ext>
            </a:extLst>
          </p:cNvPr>
          <p:cNvSpPr/>
          <p:nvPr/>
        </p:nvSpPr>
        <p:spPr>
          <a:xfrm>
            <a:off x="3211264" y="3016775"/>
            <a:ext cx="669720" cy="180454"/>
          </a:xfrm>
          <a:prstGeom prst="roundRect">
            <a:avLst/>
          </a:prstGeom>
          <a:solidFill>
            <a:schemeClr val="bg1">
              <a:lumMod val="85000"/>
            </a:schemeClr>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latin typeface="Arial" panose="020B0604020202020204" pitchFamily="34" charset="0"/>
                <a:cs typeface="Arial" panose="020B0604020202020204" pitchFamily="34" charset="0"/>
              </a:rPr>
              <a:t>COBRA</a:t>
            </a:r>
          </a:p>
        </p:txBody>
      </p:sp>
      <p:sp>
        <p:nvSpPr>
          <p:cNvPr id="9" name="Rectangle: Rounded Corners 8">
            <a:hlinkClick r:id="rId2" action="ppaction://hlinksldjump" tooltip="Your employer may pay some of your tuition costs for certain educational courses if you achieve a certain grade point level. You can then use the money to pay yourself back for tuition, textbooks, lab fees, and resource or computer fees"/>
            <a:extLst>
              <a:ext uri="{FF2B5EF4-FFF2-40B4-BE49-F238E27FC236}">
                <a16:creationId xmlns:a16="http://schemas.microsoft.com/office/drawing/2014/main" id="{28D8331E-CD23-496C-9237-B6F492AA7506}"/>
              </a:ext>
              <a:ext uri="{C183D7F6-B498-43B3-948B-1728B52AA6E4}">
                <adec:decorative xmlns:adec="http://schemas.microsoft.com/office/drawing/2017/decorative" val="0"/>
              </a:ext>
            </a:extLst>
          </p:cNvPr>
          <p:cNvSpPr/>
          <p:nvPr/>
        </p:nvSpPr>
        <p:spPr>
          <a:xfrm>
            <a:off x="2110208" y="3504398"/>
            <a:ext cx="1557427" cy="175912"/>
          </a:xfrm>
          <a:prstGeom prst="roundRect">
            <a:avLst/>
          </a:prstGeom>
          <a:solidFill>
            <a:schemeClr val="bg1">
              <a:lumMod val="85000"/>
            </a:schemeClr>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latin typeface="Arial" panose="020B0604020202020204" pitchFamily="34" charset="0"/>
                <a:cs typeface="Arial" panose="020B0604020202020204" pitchFamily="34" charset="0"/>
              </a:rPr>
              <a:t>Tuition Assistance</a:t>
            </a:r>
          </a:p>
        </p:txBody>
      </p:sp>
      <p:sp>
        <p:nvSpPr>
          <p:cNvPr id="10" name="Rectangle: Rounded Corners 9">
            <a:hlinkClick r:id="rId2" action="ppaction://hlinksldjump" tooltip="Adoption Assistance works like a Flexible Spending Account (FSA). You can contribute pretax money from your paycheck and use it for eligible expenses. Just like with an FSA, you must incur the expenses during the plan year."/>
            <a:extLst>
              <a:ext uri="{FF2B5EF4-FFF2-40B4-BE49-F238E27FC236}">
                <a16:creationId xmlns:a16="http://schemas.microsoft.com/office/drawing/2014/main" id="{271E763F-FFD7-4B46-987A-1526DEB90829}"/>
              </a:ext>
            </a:extLst>
          </p:cNvPr>
          <p:cNvSpPr/>
          <p:nvPr/>
        </p:nvSpPr>
        <p:spPr>
          <a:xfrm>
            <a:off x="1772998" y="3003490"/>
            <a:ext cx="1348071" cy="193739"/>
          </a:xfrm>
          <a:prstGeom prst="roundRect">
            <a:avLst/>
          </a:prstGeom>
          <a:solidFill>
            <a:schemeClr val="bg1">
              <a:lumMod val="85000"/>
            </a:schemeClr>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latin typeface="Arial" panose="020B0604020202020204" pitchFamily="34" charset="0"/>
                <a:cs typeface="Arial" panose="020B0604020202020204" pitchFamily="34" charset="0"/>
              </a:rPr>
              <a:t>Adoption Assistance</a:t>
            </a:r>
          </a:p>
        </p:txBody>
      </p:sp>
      <p:sp>
        <p:nvSpPr>
          <p:cNvPr id="11" name="Title 1">
            <a:extLst>
              <a:ext uri="{FF2B5EF4-FFF2-40B4-BE49-F238E27FC236}">
                <a16:creationId xmlns:a16="http://schemas.microsoft.com/office/drawing/2014/main" id="{A8340497-4AC8-48E8-A850-5E09A8668B20}"/>
              </a:ext>
            </a:extLst>
          </p:cNvPr>
          <p:cNvSpPr>
            <a:spLocks noGrp="1"/>
          </p:cNvSpPr>
          <p:nvPr>
            <p:ph type="title"/>
          </p:nvPr>
        </p:nvSpPr>
        <p:spPr>
          <a:xfrm>
            <a:off x="457200" y="296379"/>
            <a:ext cx="9688623" cy="476805"/>
          </a:xfrm>
        </p:spPr>
        <p:txBody>
          <a:bodyPr/>
          <a:lstStyle/>
          <a:p>
            <a:r>
              <a:rPr lang="en-US" dirty="0"/>
              <a:t>Health Fund Administration Products</a:t>
            </a:r>
            <a:endParaRPr lang="en-US" dirty="0">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4387663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oftheCTO_theme_100218">
  <a:themeElements>
    <a:clrScheme name="Aetna - CTO FINAL AUGUST 18">
      <a:dk1>
        <a:srgbClr val="000000"/>
      </a:dk1>
      <a:lt1>
        <a:srgbClr val="FFFFFF"/>
      </a:lt1>
      <a:dk2>
        <a:srgbClr val="414141"/>
      </a:dk2>
      <a:lt2>
        <a:srgbClr val="C2C0C0"/>
      </a:lt2>
      <a:accent1>
        <a:srgbClr val="00859B"/>
      </a:accent1>
      <a:accent2>
        <a:srgbClr val="064E69"/>
      </a:accent2>
      <a:accent3>
        <a:srgbClr val="7CC0CC"/>
      </a:accent3>
      <a:accent4>
        <a:srgbClr val="B2DAE1"/>
      </a:accent4>
      <a:accent5>
        <a:srgbClr val="563D82"/>
      </a:accent5>
      <a:accent6>
        <a:srgbClr val="7C3E98"/>
      </a:accent6>
      <a:hlink>
        <a:srgbClr val="563D82"/>
      </a:hlink>
      <a:folHlink>
        <a:srgbClr val="B18BC1"/>
      </a:folHlink>
    </a:clrScheme>
    <a:fontScheme name="Smar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rtlCol="0" anchor="ctr"/>
      <a:lstStyle>
        <a:defPPr algn="ctr">
          <a:defRPr dirty="0" smtClean="0">
            <a:latin typeface="+mj-lt"/>
            <a:cs typeface="Open Sans Bold"/>
          </a:defRPr>
        </a:defPPr>
      </a:lstStyle>
      <a:style>
        <a:lnRef idx="2">
          <a:schemeClr val="accent1">
            <a:shade val="50000"/>
          </a:schemeClr>
        </a:lnRef>
        <a:fillRef idx="1">
          <a:schemeClr val="accent1"/>
        </a:fillRef>
        <a:effectRef idx="0">
          <a:schemeClr val="accent1"/>
        </a:effectRef>
        <a:fontRef idx="minor">
          <a:schemeClr val="lt1"/>
        </a:fontRef>
      </a:style>
    </a:spDef>
    <a:lnDef>
      <a:spPr>
        <a:ln w="12700" cmpd="sng">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defTabSz="456758" fontAlgn="base">
          <a:spcBef>
            <a:spcPts val="1200"/>
          </a:spcBef>
          <a:defRPr dirty="0" err="1" smtClean="0">
            <a:solidFill>
              <a:schemeClr val="tx2"/>
            </a:solidFill>
            <a:cs typeface="Open Sans Light"/>
          </a:defRPr>
        </a:defPPr>
      </a:lstStyle>
    </a:txDef>
  </a:objectDefaults>
  <a:extraClrSchemeLst/>
  <a:extLst>
    <a:ext uri="{05A4C25C-085E-4340-85A3-A5531E510DB2}">
      <thm15:themeFamily xmlns:thm15="http://schemas.microsoft.com/office/thememl/2012/main" name="OfficeoftheCTO_theme_100218" id="{18E4FBCB-19BE-804A-9DE7-397BE919D330}" vid="{0A8A6A59-A18B-E745-A2BF-59BBEE2B9A0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69E6DEB8F4FB049B548952547B6305B" ma:contentTypeVersion="23" ma:contentTypeDescription="Create a new document." ma:contentTypeScope="" ma:versionID="c215ccef8c3a36b16093470dad90619d">
  <xsd:schema xmlns:xsd="http://www.w3.org/2001/XMLSchema" xmlns:xs="http://www.w3.org/2001/XMLSchema" xmlns:p="http://schemas.microsoft.com/office/2006/metadata/properties" xmlns:ns2="b1cf5257-8992-498b-aff9-2ccb2706890d" xmlns:ns3="f8f3ac21-d33a-4f17-9d4e-9f9f14b93e81" targetNamespace="http://schemas.microsoft.com/office/2006/metadata/properties" ma:root="true" ma:fieldsID="3d38ed3f155d5df0c2af8249c3cff766" ns2:_="" ns3:_="">
    <xsd:import namespace="b1cf5257-8992-498b-aff9-2ccb2706890d"/>
    <xsd:import namespace="f8f3ac21-d33a-4f17-9d4e-9f9f14b93e81"/>
    <xsd:element name="properties">
      <xsd:complexType>
        <xsd:sequence>
          <xsd:element name="documentManagement">
            <xsd:complexType>
              <xsd:all>
                <xsd:element ref="ns2:Link_x0020_to_x0020_Document" minOccurs="0"/>
                <xsd:element ref="ns3:SharedWithUsers" minOccurs="0"/>
                <xsd:element ref="ns3:SharedWithDetails" minOccurs="0"/>
                <xsd:element ref="ns2:ne0396003d134c759a94fef6d5606d1a" minOccurs="0"/>
                <xsd:element ref="ns3:TaxCatchAll"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1cf5257-8992-498b-aff9-2ccb2706890d" elementFormDefault="qualified">
    <xsd:import namespace="http://schemas.microsoft.com/office/2006/documentManagement/types"/>
    <xsd:import namespace="http://schemas.microsoft.com/office/infopath/2007/PartnerControls"/>
    <xsd:element name="Link_x0020_to_x0020_Document" ma:index="8" nillable="true" ma:displayName="Link to Document" ma:format="Hyperlink" ma:internalName="Link_x0020_to_x0020_Document">
      <xsd:complexType>
        <xsd:complexContent>
          <xsd:extension base="dms:URL">
            <xsd:sequence>
              <xsd:element name="Url" type="dms:ValidUrl" minOccurs="0" nillable="true"/>
              <xsd:element name="Description" type="xsd:string" nillable="true"/>
            </xsd:sequence>
          </xsd:extension>
        </xsd:complexContent>
      </xsd:complexType>
    </xsd:element>
    <xsd:element name="ne0396003d134c759a94fef6d5606d1a" ma:index="12" nillable="true" ma:taxonomy="true" ma:internalName="ne0396003d134c759a94fef6d5606d1a" ma:taxonomyFieldName="ItemStatus" ma:displayName="ItemStatus" ma:default="" ma:fieldId="{7e039600-3d13-4c75-9a94-fef6d5606d1a}" ma:taxonomyMulti="true" ma:sspId="3773e5d3-86f4-436a-b35a-a9b626cf6315" ma:termSetId="db40ae4d-ec6d-4fe5-b1a5-c9938661c4ef" ma:anchorId="00000000-0000-0000-0000-000000000000" ma:open="false" ma:isKeyword="false">
      <xsd:complexType>
        <xsd:sequence>
          <xsd:element ref="pc:Terms" minOccurs="0" maxOccurs="1"/>
        </xsd:sequence>
      </xsd:complexType>
    </xsd:element>
    <xsd:element name="MediaLengthInSeconds" ma:index="14"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f8f3ac21-d33a-4f17-9d4e-9f9f14b93e81" elementFormDefault="qualified">
    <xsd:import namespace="http://schemas.microsoft.com/office/2006/documentManagement/types"/>
    <xsd:import namespace="http://schemas.microsoft.com/office/infopath/2007/PartnerControls"/>
    <xsd:element name="SharedWithUsers" ma:index="9"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0" nillable="true" ma:displayName="Shared With Details" ma:internalName="SharedWithDetails" ma:readOnly="true">
      <xsd:simpleType>
        <xsd:restriction base="dms:Note">
          <xsd:maxLength value="255"/>
        </xsd:restriction>
      </xsd:simpleType>
    </xsd:element>
    <xsd:element name="TaxCatchAll" ma:index="13" nillable="true" ma:displayName="Taxonomy Catch All Column" ma:hidden="true" ma:list="{b152409f-fec3-4f87-b851-0f982ca0a3b0}" ma:internalName="TaxCatchAll" ma:showField="CatchAllData" ma:web="f8f3ac21-d33a-4f17-9d4e-9f9f14b93e8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ink_x0020_to_x0020_Document xmlns="b1cf5257-8992-498b-aff9-2ccb2706890d">
      <Url xsi:nil="true"/>
      <Description xsi:nil="true"/>
    </Link_x0020_to_x0020_Document>
    <TaxCatchAll xmlns="f8f3ac21-d33a-4f17-9d4e-9f9f14b93e81" xsi:nil="true"/>
    <ne0396003d134c759a94fef6d5606d1a xmlns="b1cf5257-8992-498b-aff9-2ccb2706890d">
      <Terms xmlns="http://schemas.microsoft.com/office/infopath/2007/PartnerControls"/>
    </ne0396003d134c759a94fef6d5606d1a>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CD42807-E292-41B6-9FF0-D7ABAC625D71}"/>
</file>

<file path=customXml/itemProps2.xml><?xml version="1.0" encoding="utf-8"?>
<ds:datastoreItem xmlns:ds="http://schemas.openxmlformats.org/officeDocument/2006/customXml" ds:itemID="{B24F0FD7-590D-477C-84D8-04F64A55F94D}"/>
</file>

<file path=customXml/itemProps3.xml><?xml version="1.0" encoding="utf-8"?>
<ds:datastoreItem xmlns:ds="http://schemas.openxmlformats.org/officeDocument/2006/customXml" ds:itemID="{3A4C5460-6341-4A06-8926-FDDA58E91623}"/>
</file>

<file path=docProps/app.xml><?xml version="1.0" encoding="utf-8"?>
<Properties xmlns="http://schemas.openxmlformats.org/officeDocument/2006/extended-properties" xmlns:vt="http://schemas.openxmlformats.org/officeDocument/2006/docPropsVTypes">
  <Template>Aetna Violet PPT template-widescreen</Template>
  <TotalTime>12330</TotalTime>
  <Words>203</Words>
  <Application>Microsoft Office PowerPoint</Application>
  <PresentationFormat>Widescreen</PresentationFormat>
  <Paragraphs>60</Paragraphs>
  <Slides>3</Slides>
  <Notes>2</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vt:i4>
      </vt:variant>
    </vt:vector>
  </HeadingPairs>
  <TitlesOfParts>
    <vt:vector size="8" baseType="lpstr">
      <vt:lpstr>Arial</vt:lpstr>
      <vt:lpstr>Lucida Grande</vt:lpstr>
      <vt:lpstr>Open Sans Light</vt:lpstr>
      <vt:lpstr>OfficeoftheCTO_theme_100218</vt:lpstr>
      <vt:lpstr>think-cell Slide</vt:lpstr>
      <vt:lpstr>Health Fund Administration Business Canvas</vt:lpstr>
      <vt:lpstr>Health Fund Administration Business Canvas</vt:lpstr>
      <vt:lpstr>Health Fund Administration Products</vt:lpstr>
    </vt:vector>
  </TitlesOfParts>
  <Company>Aetn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effrey Oddo</dc:creator>
  <cp:lastModifiedBy>Whalen, John</cp:lastModifiedBy>
  <cp:revision>713</cp:revision>
  <cp:lastPrinted>2017-04-13T12:11:49Z</cp:lastPrinted>
  <dcterms:created xsi:type="dcterms:W3CDTF">2017-11-30T21:23:10Z</dcterms:created>
  <dcterms:modified xsi:type="dcterms:W3CDTF">2019-04-08T18:52: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69E6DEB8F4FB049B548952547B6305B</vt:lpwstr>
  </property>
  <property fmtid="{D5CDD505-2E9C-101B-9397-08002B2CF9AE}" pid="3" name="Order">
    <vt:r8>1186900</vt:r8>
  </property>
  <property fmtid="{D5CDD505-2E9C-101B-9397-08002B2CF9AE}" pid="4" name="Sensitivity">
    <vt:lpwstr>Proprietary</vt:lpwstr>
  </property>
  <property fmtid="{D5CDD505-2E9C-101B-9397-08002B2CF9AE}" pid="5" name="MSIP_Label_67599526-06ca-49cc-9fa9-5307800a949a_Extended_MSFT_Method">
    <vt:lpwstr>Automatic</vt:lpwstr>
  </property>
  <property fmtid="{D5CDD505-2E9C-101B-9397-08002B2CF9AE}" pid="6" name="MSIP_Label_67599526-06ca-49cc-9fa9-5307800a949a_Enabled">
    <vt:lpwstr>True</vt:lpwstr>
  </property>
  <property fmtid="{D5CDD505-2E9C-101B-9397-08002B2CF9AE}" pid="7" name="ComplianceAssetId">
    <vt:lpwstr/>
  </property>
  <property fmtid="{D5CDD505-2E9C-101B-9397-08002B2CF9AE}" pid="8" name="MSIP_Label_67599526-06ca-49cc-9fa9-5307800a949a_SetDate">
    <vt:lpwstr>2018-11-27T13:51:41.6573611Z</vt:lpwstr>
  </property>
  <property fmtid="{D5CDD505-2E9C-101B-9397-08002B2CF9AE}" pid="9" name="MSIP_Label_67599526-06ca-49cc-9fa9-5307800a949a_Application">
    <vt:lpwstr>Microsoft Azure Information Protection</vt:lpwstr>
  </property>
  <property fmtid="{D5CDD505-2E9C-101B-9397-08002B2CF9AE}" pid="10" name="MSIP_Label_67599526-06ca-49cc-9fa9-5307800a949a_SiteId">
    <vt:lpwstr>fabb61b8-3afe-4e75-b934-a47f782b8cd7</vt:lpwstr>
  </property>
  <property fmtid="{D5CDD505-2E9C-101B-9397-08002B2CF9AE}" pid="11" name="MSIP_Label_67599526-06ca-49cc-9fa9-5307800a949a_Owner">
    <vt:lpwstr>StubanasCM@aetna.com</vt:lpwstr>
  </property>
  <property fmtid="{D5CDD505-2E9C-101B-9397-08002B2CF9AE}" pid="12" name="UnilyDocumentCategory">
    <vt:lpwstr/>
  </property>
  <property fmtid="{D5CDD505-2E9C-101B-9397-08002B2CF9AE}" pid="13" name="MSIP_Label_67599526-06ca-49cc-9fa9-5307800a949a_Name">
    <vt:lpwstr>Proprietary</vt:lpwstr>
  </property>
</Properties>
</file>